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8" r:id="rId4"/>
    <p:sldMasterId id="2147484060" r:id="rId5"/>
  </p:sldMasterIdLst>
  <p:notesMasterIdLst>
    <p:notesMasterId r:id="rId22"/>
  </p:notesMasterIdLst>
  <p:handoutMasterIdLst>
    <p:handoutMasterId r:id="rId23"/>
  </p:handoutMasterIdLst>
  <p:sldIdLst>
    <p:sldId id="2147472356" r:id="rId6"/>
    <p:sldId id="2088197599" r:id="rId7"/>
    <p:sldId id="2147472361" r:id="rId8"/>
    <p:sldId id="2147472360" r:id="rId9"/>
    <p:sldId id="2147472371" r:id="rId10"/>
    <p:sldId id="2147472363" r:id="rId11"/>
    <p:sldId id="2147472359" r:id="rId12"/>
    <p:sldId id="2147472364" r:id="rId13"/>
    <p:sldId id="2147472358" r:id="rId14"/>
    <p:sldId id="2147472365" r:id="rId15"/>
    <p:sldId id="2147472368" r:id="rId16"/>
    <p:sldId id="2147472367" r:id="rId17"/>
    <p:sldId id="2147472369" r:id="rId18"/>
    <p:sldId id="2147472366" r:id="rId19"/>
    <p:sldId id="2147472370" r:id="rId20"/>
    <p:sldId id="52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48D667-B3A9-48DF-E30A-0324525D2DBF}" name="Tolliver, Laura" initials="TL" userId="S::ltolliver@deloitte.com::b79d0035-cb84-45db-9670-a1a75c98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CAF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BF5643-66AE-56CB-3E44-F77EDEB639BC}" v="455" dt="2024-04-12T15:30:37.248"/>
    <p1510:client id="{82CE57D9-BF03-40FA-9B14-2CCB2D3C336D}" v="16" vWet="18" dt="2024-04-12T15:16:10.361"/>
    <p1510:client id="{F2149BB3-CF16-48E2-938D-A89ECEFB2520}" v="5" dt="2024-04-11T16:26:41.692"/>
    <p1510:client id="{FCA80545-A11E-4CF6-AF97-918F608BB386}" v="465" dt="2024-04-12T15:30:16.3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6CBF0F-F8BC-4AC3-9E99-3730CB43FA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1EBCDF-E73B-4280-B960-E83A19248A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553A9C-32C9-4615-A17A-17895DEBEE80}" type="datetimeFigureOut">
              <a:rPr lang="en-US" smtClean="0"/>
              <a:t>4/12/2024</a:t>
            </a:fld>
            <a:endParaRPr lang="en-US"/>
          </a:p>
        </p:txBody>
      </p:sp>
      <p:sp>
        <p:nvSpPr>
          <p:cNvPr id="4" name="Footer Placeholder 3">
            <a:extLst>
              <a:ext uri="{FF2B5EF4-FFF2-40B4-BE49-F238E27FC236}">
                <a16:creationId xmlns:a16="http://schemas.microsoft.com/office/drawing/2014/main" id="{AEE57B1D-95A6-48DF-9B65-695A585912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CFCD56-8195-4B8D-9A90-CEB3083D45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714033-F7A2-4513-93AA-F82AC05A956D}" type="slidenum">
              <a:rPr lang="en-US" smtClean="0"/>
              <a:t>‹#›</a:t>
            </a:fld>
            <a:endParaRPr lang="en-US"/>
          </a:p>
        </p:txBody>
      </p:sp>
    </p:spTree>
    <p:extLst>
      <p:ext uri="{BB962C8B-B14F-4D97-AF65-F5344CB8AC3E}">
        <p14:creationId xmlns:p14="http://schemas.microsoft.com/office/powerpoint/2010/main" val="1720500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75F11-AC56-400F-BBD5-23F6197FA4D5}" type="datetimeFigureOut">
              <a:rPr lang="en-US" smtClean="0"/>
              <a:t>4/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1EFFC6-6C14-45AB-9A9D-06E7D33859A5}" type="slidenum">
              <a:rPr lang="en-US" smtClean="0"/>
              <a:t>‹#›</a:t>
            </a:fld>
            <a:endParaRPr lang="en-US"/>
          </a:p>
        </p:txBody>
      </p:sp>
    </p:spTree>
    <p:extLst>
      <p:ext uri="{BB962C8B-B14F-4D97-AF65-F5344CB8AC3E}">
        <p14:creationId xmlns:p14="http://schemas.microsoft.com/office/powerpoint/2010/main" val="1228836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es are based on FY24 Delivery 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EFFC6-6C14-45AB-9A9D-06E7D338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49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888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14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050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68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25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93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7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14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053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12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700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32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31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98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hyperlink" Target="https://www2.deloitte.com/us/en/legal/about-deloitte.html"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2.deloitte.com/us/en/legal/about-deloitte.html"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890B791C-8EA7-498A-A23B-1240A6B480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grpSp>
        <p:nvGrpSpPr>
          <p:cNvPr id="22" name="Group 21">
            <a:extLst>
              <a:ext uri="{FF2B5EF4-FFF2-40B4-BE49-F238E27FC236}">
                <a16:creationId xmlns:a16="http://schemas.microsoft.com/office/drawing/2014/main" id="{A3CF88D5-82AC-4060-9C58-4787FCCEBF3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8704614F-69C1-4820-90A3-7AB4223C227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84A431D-1FA7-4B87-8084-931E921C0C8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4F1A2288-4C65-4804-8F08-1E9D4E74371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83169416-F505-4E7B-95EB-AE73E16937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784EB348-09A9-458A-82AE-959DE398FC2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280D7502-45D5-4EE6-B600-C58E16BEFC1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5C67244-756E-4B44-8CF1-44CC4F1B831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6E6AEA0-4187-4FC3-9B7F-A22156E243A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7D97126F-CCCA-45D8-8A30-17B960D152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FFF91A55-05D5-4B43-925F-44B26DCF4D3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863775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5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garment&#10;&#10;Description automatically generated with medium confidence">
            <a:extLst>
              <a:ext uri="{FF2B5EF4-FFF2-40B4-BE49-F238E27FC236}">
                <a16:creationId xmlns:a16="http://schemas.microsoft.com/office/drawing/2014/main" id="{F9FE8F1A-AF69-43D4-993C-C2BBAFFED9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18" descr="Shape, circle&#10;&#10;Description automatically generated">
            <a:extLst>
              <a:ext uri="{FF2B5EF4-FFF2-40B4-BE49-F238E27FC236}">
                <a16:creationId xmlns:a16="http://schemas.microsoft.com/office/drawing/2014/main" id="{953A33AB-754C-4471-94C6-5FB93C49D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9903253D-16BD-4D6A-9403-8BFD82AD547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4D68326A-B00E-430D-82D0-EF8D7D25DD73}"/>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B963F704-6398-4BAD-A75F-F04076125D1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8699B4AD-E0B3-43A4-8379-93AFD5CDE02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AC876C2C-5A34-4BB8-AF40-86DD7B522B2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80691CCA-5472-49CB-941A-9674695B91C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DDDAB25-1504-4112-81C3-6FFF533EF05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DF754DB-ABC2-45D2-83A1-C5DF1185845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A48F17E6-C05C-4681-BD7B-EE3BC6D75DD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3DFA5D73-0B65-41C7-968F-D5CD0054DCD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8925E6C-96E1-4658-8D0E-E5C49435C4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6C87B97E-7E04-4FD3-A53E-061479C7A14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28857372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6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descr="Graphical user interface&#10;&#10;Description automatically generated">
            <a:extLst>
              <a:ext uri="{FF2B5EF4-FFF2-40B4-BE49-F238E27FC236}">
                <a16:creationId xmlns:a16="http://schemas.microsoft.com/office/drawing/2014/main" id="{B9BCCA36-4ED3-443F-8A59-074353D97F3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pic>
        <p:nvPicPr>
          <p:cNvPr id="22" name="Picture Placeholder 6">
            <a:extLst>
              <a:ext uri="{FF2B5EF4-FFF2-40B4-BE49-F238E27FC236}">
                <a16:creationId xmlns:a16="http://schemas.microsoft.com/office/drawing/2014/main" id="{1E7CB351-959E-42C1-9F90-6598FD043999}"/>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11C7D339-2D78-4452-A552-8EC3EA1EEFF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4D4690C9-489A-44DE-96F7-520070845C7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B6C840E0-0490-4265-B743-6D884E1CB22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E4C07B07-5D8F-485A-B930-21559EAD91A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BF78CEF-F267-45FE-92FF-1C474904EAF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41DFD09A-6658-42F0-B9B3-267A873C9B7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B82230AF-FB1B-4A6D-A5C2-688FEB9F1E4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FE1590AF-82D2-4C92-B179-DBDE06B0CD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6F916EEB-0429-4E32-B2FF-0924ED5594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3941BF2D-085C-41D4-8C91-2C87BB122BA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28BF9086-B269-413D-AC04-4B7D33EA98C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Graphical user interface&#10;&#10;Description automatically generated">
            <a:extLst>
              <a:ext uri="{FF2B5EF4-FFF2-40B4-BE49-F238E27FC236}">
                <a16:creationId xmlns:a16="http://schemas.microsoft.com/office/drawing/2014/main" id="{31773E73-0B74-4A80-ADF2-E58DBAF3C0F7}"/>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spTree>
    <p:extLst>
      <p:ext uri="{BB962C8B-B14F-4D97-AF65-F5344CB8AC3E}">
        <p14:creationId xmlns:p14="http://schemas.microsoft.com/office/powerpoint/2010/main" val="3153879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6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5" name="Picture 24" descr="Graphical user interface&#10;&#10;Description automatically generated">
            <a:extLst>
              <a:ext uri="{FF2B5EF4-FFF2-40B4-BE49-F238E27FC236}">
                <a16:creationId xmlns:a16="http://schemas.microsoft.com/office/drawing/2014/main" id="{64C2CC49-72BD-486C-B659-6150D405F8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pic>
        <p:nvPicPr>
          <p:cNvPr id="18" name="Picture 17" descr="Shape, circle&#10;&#10;Description automatically generated">
            <a:extLst>
              <a:ext uri="{FF2B5EF4-FFF2-40B4-BE49-F238E27FC236}">
                <a16:creationId xmlns:a16="http://schemas.microsoft.com/office/drawing/2014/main" id="{AF8829EF-DA16-43D7-B2A2-4B3C6A0049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92941006-B1C5-4402-BE89-BFE301D47084}"/>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ED3AECBC-33D9-4ED2-84C1-468470DBDE8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8B334E4C-B2CD-4088-B9B8-A13E92574C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CE9B3F69-12CB-4E39-B96C-8DEA2908E41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AC1D680B-B320-4438-8269-2470FAD6656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034E10DE-0E47-4F88-B023-FF62884E52F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2C9431CA-B5BC-40B7-8839-93F6101F95A1}"/>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01A48F83-4D89-48E4-BB72-50B42163E81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286EC094-51BB-42AB-A67A-C2F947CB01B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0FB98451-07B9-440A-BC1F-57758CB2419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053B6EB3-4819-4FAE-B5D3-CD1D010AFBC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Graphical user interface&#10;&#10;Description automatically generated">
            <a:extLst>
              <a:ext uri="{FF2B5EF4-FFF2-40B4-BE49-F238E27FC236}">
                <a16:creationId xmlns:a16="http://schemas.microsoft.com/office/drawing/2014/main" id="{BF5A7F8A-B2E8-462E-BBA5-893DA64B6F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spTree>
    <p:extLst>
      <p:ext uri="{BB962C8B-B14F-4D97-AF65-F5344CB8AC3E}">
        <p14:creationId xmlns:p14="http://schemas.microsoft.com/office/powerpoint/2010/main" val="5747361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a:extLst>
              <a:ext uri="{FF2B5EF4-FFF2-40B4-BE49-F238E27FC236}">
                <a16:creationId xmlns:a16="http://schemas.microsoft.com/office/drawing/2014/main" id="{E4593D32-7EF5-4A06-BF1A-DDC5CFFF365C}"/>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9" name="Picture Placeholder 6">
            <a:extLst>
              <a:ext uri="{FF2B5EF4-FFF2-40B4-BE49-F238E27FC236}">
                <a16:creationId xmlns:a16="http://schemas.microsoft.com/office/drawing/2014/main" id="{A2AC997B-CAA1-4A75-8423-798D5A7E6CA4}"/>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7FD9122F-A905-4AA2-9EF4-6582BD305DD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AE56D3A4-E4C5-4D83-B391-BE580585434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A8DE5027-EC32-4F55-8FAF-4EBB1D17BD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6C7073E2-EE26-45C7-AC4D-EA70720178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B21A0C4D-AD82-47A7-9AE0-6E440F002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B0FB3660-12B2-4B8A-BDE2-4D904AA9F0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AE6DFC92-334A-43D5-B928-72905D5FE1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2635ED-1359-4D3E-A681-A784F33EB4C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EC8B9F5A-555A-44AB-8280-9BA2570CFF1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4CD3228B-57D1-49EB-B4E8-4C7BEECA091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9A9FCF9F-722F-43D2-9C09-1F8B3ACEA8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01614182-3A38-42E5-8E57-7874D3CFD734}"/>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3869886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7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5" name="Picture 14">
            <a:extLst>
              <a:ext uri="{FF2B5EF4-FFF2-40B4-BE49-F238E27FC236}">
                <a16:creationId xmlns:a16="http://schemas.microsoft.com/office/drawing/2014/main" id="{BBBA99F9-62FB-4DAE-84CB-663D640EE8DB}"/>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8" name="Picture 17" descr="Shape, circle&#10;&#10;Description automatically generated">
            <a:extLst>
              <a:ext uri="{FF2B5EF4-FFF2-40B4-BE49-F238E27FC236}">
                <a16:creationId xmlns:a16="http://schemas.microsoft.com/office/drawing/2014/main" id="{EE9F40E7-8E04-4359-8E01-83F7A991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275E6476-1B28-4F7D-995B-00EA3D8F89D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B115EEF9-D16D-4D6C-82B9-479540ADC5A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0CB08D7C-0E11-4C3E-B588-7A212FE16B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E54AD4D0-5E59-4782-810B-E24171A7B26E}"/>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E48E134D-A8BF-42BC-9E49-4C2B8BF2517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5ED1AA2F-2655-43A0-BB49-DE960FE90AD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95BD3DDB-C763-43FF-9B37-B635A77E2A1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F503099-6782-4414-9945-E9D7DBE0948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7F0C9A85-8D9C-4B6B-9140-0C6A29478C9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3B5E9691-5C72-4BEB-B55B-46D6C9DC30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96B4776C-1177-40D1-8C81-340B22B040D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a:extLst>
              <a:ext uri="{FF2B5EF4-FFF2-40B4-BE49-F238E27FC236}">
                <a16:creationId xmlns:a16="http://schemas.microsoft.com/office/drawing/2014/main" id="{195AB783-2C64-4641-B837-75E97AC06A21}"/>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2112855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icture containing jellyfish&#10;&#10;Description automatically generated">
            <a:extLst>
              <a:ext uri="{FF2B5EF4-FFF2-40B4-BE49-F238E27FC236}">
                <a16:creationId xmlns:a16="http://schemas.microsoft.com/office/drawing/2014/main" id="{D0B3001A-C8C3-4B61-BD2F-6D46936B526D}"/>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pic>
        <p:nvPicPr>
          <p:cNvPr id="19" name="Picture Placeholder 6">
            <a:extLst>
              <a:ext uri="{FF2B5EF4-FFF2-40B4-BE49-F238E27FC236}">
                <a16:creationId xmlns:a16="http://schemas.microsoft.com/office/drawing/2014/main" id="{A04D65DE-D3B6-4476-81D6-D5B45C21B3BA}"/>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grpSp>
        <p:nvGrpSpPr>
          <p:cNvPr id="22" name="Group 21">
            <a:extLst>
              <a:ext uri="{FF2B5EF4-FFF2-40B4-BE49-F238E27FC236}">
                <a16:creationId xmlns:a16="http://schemas.microsoft.com/office/drawing/2014/main" id="{79F1BA63-4622-4868-AF96-899CDEBF5B4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28B836EE-D4DA-4486-9452-2ACDAC34C0F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D4544EBF-EFE3-4BF1-AD70-6EE0DD49BE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078D540B-756A-4912-ABF1-4DE163BA256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5425BD5-4E62-4EAB-A661-A218979519B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9074D51F-F0BC-4F15-BE81-AFF4F8AFD83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C47770C0-F14C-4D6B-979D-07CAC1E0077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459D4F5-8FC2-49FC-BDE0-BD0E3C19F59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9902743-9D0E-46E4-A400-54B8C11C0C4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AEAE8C82-235F-48F5-A145-059286AB59E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EB7D4BB0-CE87-450B-906E-2043FE4F937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icture containing jellyfish&#10;&#10;Description automatically generated">
            <a:extLst>
              <a:ext uri="{FF2B5EF4-FFF2-40B4-BE49-F238E27FC236}">
                <a16:creationId xmlns:a16="http://schemas.microsoft.com/office/drawing/2014/main" id="{051B18CB-1D52-4903-BD5B-3B500BF3D3D4}"/>
              </a:ext>
            </a:extLst>
          </p:cNvPr>
          <p:cNvPicPr>
            <a:picLocks noChangeAspect="1"/>
          </p:cNvPicPr>
          <p:nvPr userDrawn="1"/>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spTree>
    <p:extLst>
      <p:ext uri="{BB962C8B-B14F-4D97-AF65-F5344CB8AC3E}">
        <p14:creationId xmlns:p14="http://schemas.microsoft.com/office/powerpoint/2010/main" val="3164561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Agenda">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DA9278-DEFA-4922-9905-13271535CE00}"/>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0B65766F-DB47-47F2-BB5C-D2595190B622}"/>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A7A1DE-C378-46AE-A193-6BA85DA6BBF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2" name="Picture 21" descr="Shape, circle&#10;&#10;Description automatically generated">
            <a:extLst>
              <a:ext uri="{FF2B5EF4-FFF2-40B4-BE49-F238E27FC236}">
                <a16:creationId xmlns:a16="http://schemas.microsoft.com/office/drawing/2014/main" id="{CFEF9BA3-5D05-4613-BC93-AB93CD629287}"/>
              </a:ext>
            </a:extLst>
          </p:cNvPr>
          <p:cNvPicPr>
            <a:picLocks noChangeAspect="1"/>
          </p:cNvPicPr>
          <p:nvPr/>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prstClr val="black">
                    <a:lumMod val="85000"/>
                    <a:lumOff val="15000"/>
                  </a:prstClr>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1" name="Text Placeholder 30">
            <a:extLst>
              <a:ext uri="{FF2B5EF4-FFF2-40B4-BE49-F238E27FC236}">
                <a16:creationId xmlns:a16="http://schemas.microsoft.com/office/drawing/2014/main" id="{20F70979-2D4F-4ED5-8BC9-9D4896514C7F}"/>
              </a:ext>
            </a:extLst>
          </p:cNvPr>
          <p:cNvSpPr>
            <a:spLocks noGrp="1"/>
          </p:cNvSpPr>
          <p:nvPr>
            <p:ph type="body" sz="quarter" idx="11" hasCustomPrompt="1"/>
          </p:nvPr>
        </p:nvSpPr>
        <p:spPr>
          <a:xfrm>
            <a:off x="468687" y="1159893"/>
            <a:ext cx="3293028" cy="310138"/>
          </a:xfrm>
          <a:prstGeom prst="rect">
            <a:avLst/>
          </a:prstGeom>
        </p:spPr>
        <p:txBody>
          <a:bodyPr/>
          <a:lstStyle>
            <a:lvl1pPr>
              <a:defRPr kumimoji="0" lang="en-US" sz="1600" b="1" i="0" u="none" strike="noStrike" kern="1200" cap="none" spc="300" normalizeH="0" baseline="0" noProof="0" dirty="0" smtClean="0">
                <a:ln>
                  <a:noFill/>
                </a:ln>
                <a:solidFill>
                  <a:schemeClr val="accent3"/>
                </a:solidFill>
                <a:effectLst/>
                <a:uLnTx/>
                <a:uFillTx/>
                <a:latin typeface="+mj-lt"/>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pPr>
            <a:r>
              <a:rPr kumimoji="0" lang="en-US" sz="1600" b="1" i="0" u="none" strike="noStrike" kern="1200" cap="none" spc="300" normalizeH="0" baseline="0" noProof="0">
                <a:ln>
                  <a:noFill/>
                </a:ln>
                <a:solidFill>
                  <a:srgbClr val="26890D"/>
                </a:solidFill>
                <a:effectLst/>
                <a:uLnTx/>
                <a:uFillTx/>
                <a:latin typeface="+mj-lt"/>
                <a:ea typeface="Open Sans Semibold" panose="020B0706030804020204" pitchFamily="34" charset="0"/>
                <a:cs typeface="Open Sans Semibold" panose="020B0706030804020204" pitchFamily="34" charset="0"/>
              </a:rPr>
              <a:t>OUR OBJECTIVES:</a:t>
            </a:r>
            <a:endParaRPr kumimoji="0" lang="en-US" sz="1600" b="1" i="0" u="none" strike="noStrike" kern="1200" cap="none" spc="300" normalizeH="0" baseline="0" noProof="0">
              <a:ln>
                <a:noFill/>
              </a:ln>
              <a:solidFill>
                <a:srgbClr val="26890D"/>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pic>
        <p:nvPicPr>
          <p:cNvPr id="10" name="Picture 9" descr="Shape, circle&#10;&#10;Description automatically generated">
            <a:extLst>
              <a:ext uri="{FF2B5EF4-FFF2-40B4-BE49-F238E27FC236}">
                <a16:creationId xmlns:a16="http://schemas.microsoft.com/office/drawing/2014/main" id="{1BDE00F6-467D-452B-ABFA-D0C8697895F7}"/>
              </a:ext>
            </a:extLst>
          </p:cNvPr>
          <p:cNvPicPr>
            <a:picLocks noChangeAspect="1"/>
          </p:cNvPicPr>
          <p:nvPr userDrawn="1"/>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Tree>
    <p:extLst>
      <p:ext uri="{BB962C8B-B14F-4D97-AF65-F5344CB8AC3E}">
        <p14:creationId xmlns:p14="http://schemas.microsoft.com/office/powerpoint/2010/main" val="32560571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218524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p>
            <a:r>
              <a:rPr lang="en-US"/>
              <a:t>Click to edit Master title style</a:t>
            </a:r>
          </a:p>
        </p:txBody>
      </p:sp>
      <p:pic>
        <p:nvPicPr>
          <p:cNvPr id="4" name="Picture 3" descr="Shape, circle&#10;&#10;Description automatically generated">
            <a:extLst>
              <a:ext uri="{FF2B5EF4-FFF2-40B4-BE49-F238E27FC236}">
                <a16:creationId xmlns:a16="http://schemas.microsoft.com/office/drawing/2014/main" id="{AB4A0E00-70BC-4FC1-84BE-50510435981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5" name="Picture 4" descr="Shape, circle&#10;&#10;Description automatically generated">
            <a:extLst>
              <a:ext uri="{FF2B5EF4-FFF2-40B4-BE49-F238E27FC236}">
                <a16:creationId xmlns:a16="http://schemas.microsoft.com/office/drawing/2014/main" id="{F612CE00-2783-44E4-BE6A-C745AD030DA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6" name="Text Placeholder 5">
            <a:extLst>
              <a:ext uri="{FF2B5EF4-FFF2-40B4-BE49-F238E27FC236}">
                <a16:creationId xmlns:a16="http://schemas.microsoft.com/office/drawing/2014/main" id="{597D5500-D9A4-439F-964F-6E38DA3D717D}"/>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509715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9" name="Text Placeholder 5">
            <a:extLst>
              <a:ext uri="{FF2B5EF4-FFF2-40B4-BE49-F238E27FC236}">
                <a16:creationId xmlns:a16="http://schemas.microsoft.com/office/drawing/2014/main" id="{C31A371B-DB56-42D7-A961-8FAB23A1007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0" name="Group 9">
            <a:extLst>
              <a:ext uri="{FF2B5EF4-FFF2-40B4-BE49-F238E27FC236}">
                <a16:creationId xmlns:a16="http://schemas.microsoft.com/office/drawing/2014/main" id="{103022AC-85D6-4A2E-A9B2-3B822DE91B6B}"/>
              </a:ext>
            </a:extLst>
          </p:cNvPr>
          <p:cNvGrpSpPr/>
          <p:nvPr userDrawn="1"/>
        </p:nvGrpSpPr>
        <p:grpSpPr>
          <a:xfrm>
            <a:off x="491021" y="697823"/>
            <a:ext cx="1506056" cy="0"/>
            <a:chOff x="519596" y="783548"/>
            <a:chExt cx="1506056" cy="0"/>
          </a:xfrm>
        </p:grpSpPr>
        <p:cxnSp>
          <p:nvCxnSpPr>
            <p:cNvPr id="11" name="Straight Connector 10">
              <a:extLst>
                <a:ext uri="{FF2B5EF4-FFF2-40B4-BE49-F238E27FC236}">
                  <a16:creationId xmlns:a16="http://schemas.microsoft.com/office/drawing/2014/main" id="{FA26822E-47D5-4606-AC8C-4209ACA858F6}"/>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31CC98-2EE1-4A67-82D3-DD61018B775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6192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1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Shape, circle&#10;&#10;Description automatically generated">
            <a:extLst>
              <a:ext uri="{FF2B5EF4-FFF2-40B4-BE49-F238E27FC236}">
                <a16:creationId xmlns:a16="http://schemas.microsoft.com/office/drawing/2014/main" id="{FBF6E47D-56F7-47AD-8C7C-EC5B0470E4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grpSp>
        <p:nvGrpSpPr>
          <p:cNvPr id="18" name="Group 17">
            <a:extLst>
              <a:ext uri="{FF2B5EF4-FFF2-40B4-BE49-F238E27FC236}">
                <a16:creationId xmlns:a16="http://schemas.microsoft.com/office/drawing/2014/main" id="{B1C341A6-DEC4-4232-A41F-997C020DE993}"/>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301AB44-D568-4D98-B426-23D91A243A6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D7829660-F5D5-4020-90F1-9629202BD4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76A88160-957E-4D37-9E90-5A619B021A8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D2F8609B-6FA9-4F4F-AB0D-09F0E5D657B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DFF5CDF0-1217-49A8-85E1-BFC4DDC20C63}"/>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13AF7EA3-56CD-40B8-9419-330938B1EFF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5EABD792-669B-4857-A210-2B3EACC7EC9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1824762E-E5C9-4A71-A717-576FC5598C1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6AE7C77E-DBDD-4E56-B20C-429E5262929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4">
              <a:extLst>
                <a:ext uri="{FF2B5EF4-FFF2-40B4-BE49-F238E27FC236}">
                  <a16:creationId xmlns:a16="http://schemas.microsoft.com/office/drawing/2014/main" id="{BCB23E2C-FBD3-4B6A-92C0-64F067B45DD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5553606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p>
            <a:r>
              <a:rPr lang="en-US"/>
              <a:t>Click to edit Master title style</a:t>
            </a:r>
          </a:p>
        </p:txBody>
      </p:sp>
      <p:pic>
        <p:nvPicPr>
          <p:cNvPr id="7" name="Picture 6" descr="Shape, circle&#10;&#10;Description automatically generated">
            <a:extLst>
              <a:ext uri="{FF2B5EF4-FFF2-40B4-BE49-F238E27FC236}">
                <a16:creationId xmlns:a16="http://schemas.microsoft.com/office/drawing/2014/main" id="{B38CE13E-8D68-4F59-8068-F14A423EC39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10" name="Picture 9" descr="Shape, circle&#10;&#10;Description automatically generated">
            <a:extLst>
              <a:ext uri="{FF2B5EF4-FFF2-40B4-BE49-F238E27FC236}">
                <a16:creationId xmlns:a16="http://schemas.microsoft.com/office/drawing/2014/main" id="{03FBD782-851D-40BC-B42E-FE210624C15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1" name="Text Placeholder 5">
            <a:extLst>
              <a:ext uri="{FF2B5EF4-FFF2-40B4-BE49-F238E27FC236}">
                <a16:creationId xmlns:a16="http://schemas.microsoft.com/office/drawing/2014/main" id="{6910B80C-D12A-45CE-B3EA-37159C418FE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2" name="Group 11">
            <a:extLst>
              <a:ext uri="{FF2B5EF4-FFF2-40B4-BE49-F238E27FC236}">
                <a16:creationId xmlns:a16="http://schemas.microsoft.com/office/drawing/2014/main" id="{758ED47D-090B-46DA-A808-C1AD436585F9}"/>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A4CD150A-0010-4E26-8830-CDA95DE95220}"/>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2EECA3-8FE1-4CC5-93C4-F8662C5C40A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50637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CF74C4D-60CE-4628-8553-C51329FF5338}"/>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 Placeholder 5">
            <a:extLst>
              <a:ext uri="{FF2B5EF4-FFF2-40B4-BE49-F238E27FC236}">
                <a16:creationId xmlns:a16="http://schemas.microsoft.com/office/drawing/2014/main" id="{57A9BC24-5DFC-4F3A-9828-A7AE2DD8B37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89720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3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Shape, circle&#10;&#10;Description automatically generated">
            <a:extLst>
              <a:ext uri="{FF2B5EF4-FFF2-40B4-BE49-F238E27FC236}">
                <a16:creationId xmlns:a16="http://schemas.microsoft.com/office/drawing/2014/main" id="{CE1E0ED2-BA07-48AB-8E45-1228323CF33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8" name="Rectangle 7">
            <a:extLst>
              <a:ext uri="{FF2B5EF4-FFF2-40B4-BE49-F238E27FC236}">
                <a16:creationId xmlns:a16="http://schemas.microsoft.com/office/drawing/2014/main" id="{7285334F-B8C2-4AB4-9E23-2ACECD35B0ED}"/>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9" name="Picture 8" descr="Shape, circle&#10;&#10;Description automatically generated">
            <a:extLst>
              <a:ext uri="{FF2B5EF4-FFF2-40B4-BE49-F238E27FC236}">
                <a16:creationId xmlns:a16="http://schemas.microsoft.com/office/drawing/2014/main" id="{36ADEE0F-21D3-422E-8E5A-24092CF58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0" name="Text Placeholder 5">
            <a:extLst>
              <a:ext uri="{FF2B5EF4-FFF2-40B4-BE49-F238E27FC236}">
                <a16:creationId xmlns:a16="http://schemas.microsoft.com/office/drawing/2014/main" id="{D198B8D8-377D-4129-8759-7FE8E41E920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15966832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p>
            <a:r>
              <a:rPr lang="en-US"/>
              <a:t>Click to edit Master title style</a:t>
            </a:r>
          </a:p>
        </p:txBody>
      </p:sp>
      <p:pic>
        <p:nvPicPr>
          <p:cNvPr id="6" name="Picture 5" descr="Shape, circle&#10;&#10;Description automatically generated">
            <a:extLst>
              <a:ext uri="{FF2B5EF4-FFF2-40B4-BE49-F238E27FC236}">
                <a16:creationId xmlns:a16="http://schemas.microsoft.com/office/drawing/2014/main" id="{FB211627-DD07-4B34-93DE-8CC5220ECAA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9" name="Straight Connector 8">
            <a:extLst>
              <a:ext uri="{FF2B5EF4-FFF2-40B4-BE49-F238E27FC236}">
                <a16:creationId xmlns:a16="http://schemas.microsoft.com/office/drawing/2014/main" id="{5E93B7AB-F995-4F57-ACEB-FFAE1BA072AD}"/>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DDE7B280-A473-4683-AC44-92ED7F1BE1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11" name="Straight Connector 10">
            <a:extLst>
              <a:ext uri="{FF2B5EF4-FFF2-40B4-BE49-F238E27FC236}">
                <a16:creationId xmlns:a16="http://schemas.microsoft.com/office/drawing/2014/main" id="{8E98A597-3343-40DB-91CC-06AB15E969D3}"/>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63F69456-5B34-474A-A043-1D5788BA58B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600971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tx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lvl1pPr>
          </a:lstStyle>
          <a:p>
            <a:pPr lvl="0"/>
            <a:r>
              <a:rPr lang="en-US"/>
              <a:t>Click to edit Master text styles</a:t>
            </a:r>
          </a:p>
        </p:txBody>
      </p:sp>
      <p:pic>
        <p:nvPicPr>
          <p:cNvPr id="12" name="Picture 11" descr="Shape, circle&#10;&#10;Description automatically generated">
            <a:extLst>
              <a:ext uri="{FF2B5EF4-FFF2-40B4-BE49-F238E27FC236}">
                <a16:creationId xmlns:a16="http://schemas.microsoft.com/office/drawing/2014/main" id="{C97BC532-44EF-4A5A-8FB3-2C3A33A67BE8}"/>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5" name="Straight Connector 14">
            <a:extLst>
              <a:ext uri="{FF2B5EF4-FFF2-40B4-BE49-F238E27FC236}">
                <a16:creationId xmlns:a16="http://schemas.microsoft.com/office/drawing/2014/main" id="{A7703491-8347-4C07-8CC9-9E5EBECB6DD0}"/>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CB89F05-A315-474A-9A36-BB4809AC5F08}"/>
              </a:ext>
            </a:extLst>
          </p:cNvPr>
          <p:cNvCxnSpPr>
            <a:cxnSpLocks/>
          </p:cNvCxnSpPr>
          <p:nvPr userDrawn="1"/>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2DDF7E-0B4B-4D87-8077-68407DB1E7B6}"/>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00786C30-22D4-4127-B802-DA0F17830AF7}"/>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531230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249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0B7D768F-07BF-4F06-8A13-6A1929C5C7C8}"/>
              </a:ext>
            </a:extLst>
          </p:cNvPr>
          <p:cNvPicPr>
            <a:picLocks noChangeAspect="1"/>
          </p:cNvPicPr>
          <p:nvPr userDrawn="1"/>
        </p:nvPicPr>
        <p:blipFill rotWithShape="1">
          <a:blip r:embed="rId2"/>
          <a:srcRect l="63268"/>
          <a:stretch/>
        </p:blipFill>
        <p:spPr>
          <a:xfrm>
            <a:off x="0" y="0"/>
            <a:ext cx="2203311" cy="6858000"/>
          </a:xfrm>
          <a:prstGeom prst="rect">
            <a:avLst/>
          </a:prstGeom>
          <a:solidFill>
            <a:schemeClr val="bg1"/>
          </a:solidFill>
        </p:spPr>
      </p:pic>
      <p:grpSp>
        <p:nvGrpSpPr>
          <p:cNvPr id="12" name="Group 11">
            <a:extLst>
              <a:ext uri="{FF2B5EF4-FFF2-40B4-BE49-F238E27FC236}">
                <a16:creationId xmlns:a16="http://schemas.microsoft.com/office/drawing/2014/main" id="{DEACEF3D-84A0-45AD-9E18-7ECC06D8A6A7}"/>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AECADC95-BBA9-4443-BF9A-F5AF271EE42C}"/>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4F1649-2962-4DC3-A05D-62B0F7804E69}"/>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FF1D0DBF-F20B-4EAE-A987-135D1B7F46A3}"/>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bg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prstClr val="black">
                    <a:lumMod val="75000"/>
                    <a:lumOff val="25000"/>
                  </a:prstClr>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6682624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719755"/>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11" name="Picture Placeholder 4">
            <a:extLst>
              <a:ext uri="{FF2B5EF4-FFF2-40B4-BE49-F238E27FC236}">
                <a16:creationId xmlns:a16="http://schemas.microsoft.com/office/drawing/2014/main" id="{6573B33C-728C-408E-82EA-D2D9B06AAFA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1" t="5606" r="5718" b="5606"/>
          <a:stretch/>
        </p:blipFill>
        <p:spPr>
          <a:xfrm>
            <a:off x="1035478" y="2652718"/>
            <a:ext cx="1552575" cy="1552562"/>
          </a:xfrm>
          <a:prstGeom prst="ellipse">
            <a:avLst/>
          </a:prstGeom>
        </p:spPr>
      </p:pic>
    </p:spTree>
    <p:extLst>
      <p:ext uri="{BB962C8B-B14F-4D97-AF65-F5344CB8AC3E}">
        <p14:creationId xmlns:p14="http://schemas.microsoft.com/office/powerpoint/2010/main" val="27324370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F79EB6FC-C158-40B1-B63E-ADFD387E00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688"/>
          <a:stretch/>
        </p:blipFill>
        <p:spPr>
          <a:xfrm>
            <a:off x="8301204" y="495301"/>
            <a:ext cx="3890792" cy="5867398"/>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225389"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11" name="Text Placeholder 16">
            <a:extLst>
              <a:ext uri="{FF2B5EF4-FFF2-40B4-BE49-F238E27FC236}">
                <a16:creationId xmlns:a16="http://schemas.microsoft.com/office/drawing/2014/main" id="{14631A4A-4CF1-4EEF-876B-0B7202EF927D}"/>
              </a:ext>
            </a:extLst>
          </p:cNvPr>
          <p:cNvSpPr>
            <a:spLocks noGrp="1"/>
          </p:cNvSpPr>
          <p:nvPr>
            <p:ph type="body" sz="quarter" idx="10" hasCustomPrompt="1"/>
          </p:nvPr>
        </p:nvSpPr>
        <p:spPr>
          <a:xfrm>
            <a:off x="469900" y="1251030"/>
            <a:ext cx="5225222"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Tree>
    <p:extLst>
      <p:ext uri="{BB962C8B-B14F-4D97-AF65-F5344CB8AC3E}">
        <p14:creationId xmlns:p14="http://schemas.microsoft.com/office/powerpoint/2010/main" val="505422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ighlight">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5EC2F510-64B9-4F25-83E0-4E6E2451403B}"/>
              </a:ext>
            </a:extLst>
          </p:cNvPr>
          <p:cNvSpPr/>
          <p:nvPr userDrawn="1"/>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accent3"/>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837494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ext Step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75A8533-8645-4B53-B61E-762CF1F73AF0}"/>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lvl1pPr>
          </a:lstStyle>
          <a:p>
            <a:pPr lvl="0"/>
            <a:r>
              <a:rPr lang="en-US"/>
              <a:t>Click to edit Master text styles</a:t>
            </a:r>
          </a:p>
        </p:txBody>
      </p:sp>
      <p:pic>
        <p:nvPicPr>
          <p:cNvPr id="17" name="Picture 16" descr="Shape, circle&#10;&#10;Description automatically generated">
            <a:extLst>
              <a:ext uri="{FF2B5EF4-FFF2-40B4-BE49-F238E27FC236}">
                <a16:creationId xmlns:a16="http://schemas.microsoft.com/office/drawing/2014/main" id="{395C2D20-B907-40A3-AAD9-C743E974220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8" name="Straight Connector 17">
            <a:extLst>
              <a:ext uri="{FF2B5EF4-FFF2-40B4-BE49-F238E27FC236}">
                <a16:creationId xmlns:a16="http://schemas.microsoft.com/office/drawing/2014/main" id="{D61E5996-3771-417C-BB12-E4068D5D17E2}"/>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46FDC50-5D91-47B9-80BE-0A7C3C3D7C55}"/>
              </a:ext>
            </a:extLst>
          </p:cNvPr>
          <p:cNvCxnSpPr>
            <a:cxnSpLocks/>
          </p:cNvCxnSpPr>
          <p:nvPr userDrawn="1"/>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CE803-D089-4C75-9B65-FC6F8441E649}"/>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7858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2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pic>
        <p:nvPicPr>
          <p:cNvPr id="7" name="Picture 6" descr="A person in a garment&#10;&#10;Description automatically generated with low confidence">
            <a:extLst>
              <a:ext uri="{FF2B5EF4-FFF2-40B4-BE49-F238E27FC236}">
                <a16:creationId xmlns:a16="http://schemas.microsoft.com/office/drawing/2014/main" id="{84899525-EC45-4E0D-8AB9-DD302AF25722}"/>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A4264AC3-3F2F-422F-99CB-D207E194CBC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pic>
        <p:nvPicPr>
          <p:cNvPr id="22" name="Picture 21" descr="A person in a garment&#10;&#10;Description automatically generated with low confidence">
            <a:extLst>
              <a:ext uri="{FF2B5EF4-FFF2-40B4-BE49-F238E27FC236}">
                <a16:creationId xmlns:a16="http://schemas.microsoft.com/office/drawing/2014/main" id="{4BDF6C5D-C0D4-4838-AEBF-296A9C47D44D}"/>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23" name="Group 22">
            <a:extLst>
              <a:ext uri="{FF2B5EF4-FFF2-40B4-BE49-F238E27FC236}">
                <a16:creationId xmlns:a16="http://schemas.microsoft.com/office/drawing/2014/main" id="{567833EE-DB03-4ED9-9123-A5EE12EEB72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F49A8307-B75A-4457-8710-AE8DB536EDF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031BADB2-39FC-45B4-9011-6E29B573D21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759DBA95-47D8-4805-B6C0-558A2BCB10D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27F4B30-BB60-40CB-8D97-38E93DDB301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37B7878B-0909-4468-94FC-34314B98841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008D441-D00A-4AE4-8357-F23AC674EBBD}"/>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AD8D14-C7AD-45C6-AE79-0E11E559FF2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9E842487-75E3-4284-ACC0-BD9C03926E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5F7D7DC7-FC86-4334-A084-AF22C34B937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15EF077D-516B-475D-ADCA-2670C98C445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235909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Agenda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53C5AF10-1379-403D-9F51-4E42E18CECD6}"/>
              </a:ext>
            </a:extLst>
          </p:cNvPr>
          <p:cNvPicPr>
            <a:picLocks noChangeAspect="1"/>
          </p:cNvPicPr>
          <p:nvPr/>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schemeClr val="bg1"/>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sp>
        <p:nvSpPr>
          <p:cNvPr id="16" name="Text Placeholder 33">
            <a:extLst>
              <a:ext uri="{FF2B5EF4-FFF2-40B4-BE49-F238E27FC236}">
                <a16:creationId xmlns:a16="http://schemas.microsoft.com/office/drawing/2014/main" id="{7427047A-6897-4425-AF09-A140181E83DF}"/>
              </a:ext>
            </a:extLst>
          </p:cNvPr>
          <p:cNvSpPr>
            <a:spLocks noGrp="1"/>
          </p:cNvSpPr>
          <p:nvPr>
            <p:ph type="body" sz="quarter" idx="14" hasCustomPrompt="1"/>
          </p:nvPr>
        </p:nvSpPr>
        <p:spPr>
          <a:xfrm>
            <a:off x="519596"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OBJECTIVES:</a:t>
            </a:r>
          </a:p>
        </p:txBody>
      </p:sp>
      <p:pic>
        <p:nvPicPr>
          <p:cNvPr id="10" name="Picture 9" descr="A picture containing laser&#10;&#10;Description automatically generated">
            <a:extLst>
              <a:ext uri="{FF2B5EF4-FFF2-40B4-BE49-F238E27FC236}">
                <a16:creationId xmlns:a16="http://schemas.microsoft.com/office/drawing/2014/main" id="{ABDAD4D2-3BF0-4C79-B499-67F68648D01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grpSp>
        <p:nvGrpSpPr>
          <p:cNvPr id="11" name="Group 10">
            <a:extLst>
              <a:ext uri="{FF2B5EF4-FFF2-40B4-BE49-F238E27FC236}">
                <a16:creationId xmlns:a16="http://schemas.microsoft.com/office/drawing/2014/main" id="{2147618A-59EB-420E-9701-FF3124C19A86}"/>
              </a:ext>
            </a:extLst>
          </p:cNvPr>
          <p:cNvGrpSpPr/>
          <p:nvPr userDrawn="1"/>
        </p:nvGrpSpPr>
        <p:grpSpPr>
          <a:xfrm>
            <a:off x="491021" y="697823"/>
            <a:ext cx="1506056" cy="0"/>
            <a:chOff x="519596" y="783548"/>
            <a:chExt cx="1506056" cy="0"/>
          </a:xfrm>
        </p:grpSpPr>
        <p:cxnSp>
          <p:nvCxnSpPr>
            <p:cNvPr id="12" name="Straight Connector 11">
              <a:extLst>
                <a:ext uri="{FF2B5EF4-FFF2-40B4-BE49-F238E27FC236}">
                  <a16:creationId xmlns:a16="http://schemas.microsoft.com/office/drawing/2014/main" id="{65084A34-7456-46E4-BB6D-4D345F2A1E6E}"/>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791FDA3-E8EE-4C69-B486-15A9110EAA57}"/>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79702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1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pyright">
            <a:extLst>
              <a:ext uri="{FF2B5EF4-FFF2-40B4-BE49-F238E27FC236}">
                <a16:creationId xmlns:a16="http://schemas.microsoft.com/office/drawing/2014/main" id="{251FB1DD-0A57-4F39-B9BD-31939C3D7F0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5" name="TextBox 4">
            <a:extLst>
              <a:ext uri="{FF2B5EF4-FFF2-40B4-BE49-F238E27FC236}">
                <a16:creationId xmlns:a16="http://schemas.microsoft.com/office/drawing/2014/main" id="{E62FBB9E-B749-4E6F-A2B4-40F4DE15D57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Copyright">
            <a:extLst>
              <a:ext uri="{FF2B5EF4-FFF2-40B4-BE49-F238E27FC236}">
                <a16:creationId xmlns:a16="http://schemas.microsoft.com/office/drawing/2014/main" id="{E891DAB2-5A77-48B8-B9BD-BA9DBDF4FF3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5F842741-3BDA-40D5-B8A8-9328A73F3554}"/>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5">
            <a:extLst>
              <a:ext uri="{FF2B5EF4-FFF2-40B4-BE49-F238E27FC236}">
                <a16:creationId xmlns:a16="http://schemas.microsoft.com/office/drawing/2014/main" id="{74D6F431-DA8A-4DB0-B326-0C4F62390016}"/>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24890060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1_120_B">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laser&#10;&#10;Description automatically generated">
            <a:extLst>
              <a:ext uri="{FF2B5EF4-FFF2-40B4-BE49-F238E27FC236}">
                <a16:creationId xmlns:a16="http://schemas.microsoft.com/office/drawing/2014/main" id="{46A91013-99FE-4275-A48F-5E25FC452F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lvl1pPr>
              <a:defRPr>
                <a:solidFill>
                  <a:schemeClr val="bg1"/>
                </a:solidFill>
              </a:defRPr>
            </a:lvl1pPr>
          </a:lstStyle>
          <a:p>
            <a:r>
              <a:rPr lang="en-US"/>
              <a:t>Click to edit Master title style</a:t>
            </a:r>
          </a:p>
        </p:txBody>
      </p:sp>
      <p:sp>
        <p:nvSpPr>
          <p:cNvPr id="5" name="Copyright">
            <a:extLst>
              <a:ext uri="{FF2B5EF4-FFF2-40B4-BE49-F238E27FC236}">
                <a16:creationId xmlns:a16="http://schemas.microsoft.com/office/drawing/2014/main" id="{901AA426-5ACF-4D0F-837B-D7C7E55F9FB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6" name="TextBox 5">
            <a:extLst>
              <a:ext uri="{FF2B5EF4-FFF2-40B4-BE49-F238E27FC236}">
                <a16:creationId xmlns:a16="http://schemas.microsoft.com/office/drawing/2014/main" id="{A1A3E933-B88B-4912-A669-CAB46F0EF022}"/>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picture containing laser&#10;&#10;Description automatically generated">
            <a:extLst>
              <a:ext uri="{FF2B5EF4-FFF2-40B4-BE49-F238E27FC236}">
                <a16:creationId xmlns:a16="http://schemas.microsoft.com/office/drawing/2014/main" id="{95867355-3656-41F4-AEBB-451FB7580CE6}"/>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0" name="Copyright">
            <a:extLst>
              <a:ext uri="{FF2B5EF4-FFF2-40B4-BE49-F238E27FC236}">
                <a16:creationId xmlns:a16="http://schemas.microsoft.com/office/drawing/2014/main" id="{DD2CD34A-5EF4-476E-8632-A52196F785F9}"/>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E120F8F7-34EB-46B1-B1BC-50C7E0D6C5DA}"/>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2D99E59B-B249-4F24-ADDF-CAF24267136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1776409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2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pyright">
            <a:extLst>
              <a:ext uri="{FF2B5EF4-FFF2-40B4-BE49-F238E27FC236}">
                <a16:creationId xmlns:a16="http://schemas.microsoft.com/office/drawing/2014/main" id="{D5D481F2-2985-4575-B765-CD3AB3FA32D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E9981EBF-67AB-4265-8593-A23F6917212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Copyright">
            <a:extLst>
              <a:ext uri="{FF2B5EF4-FFF2-40B4-BE49-F238E27FC236}">
                <a16:creationId xmlns:a16="http://schemas.microsoft.com/office/drawing/2014/main" id="{46487A30-545A-4FE1-AD51-47523CB2A3E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2" name="TextBox 11">
            <a:extLst>
              <a:ext uri="{FF2B5EF4-FFF2-40B4-BE49-F238E27FC236}">
                <a16:creationId xmlns:a16="http://schemas.microsoft.com/office/drawing/2014/main" id="{224AF237-C1C5-4B9D-8FF4-CD839CB85486}"/>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5">
            <a:extLst>
              <a:ext uri="{FF2B5EF4-FFF2-40B4-BE49-F238E27FC236}">
                <a16:creationId xmlns:a16="http://schemas.microsoft.com/office/drawing/2014/main" id="{8F1ECC2D-2E48-4E4E-9806-6B23A9508E29}"/>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4" name="Group 13">
            <a:extLst>
              <a:ext uri="{FF2B5EF4-FFF2-40B4-BE49-F238E27FC236}">
                <a16:creationId xmlns:a16="http://schemas.microsoft.com/office/drawing/2014/main" id="{6A171C8F-B78F-4F8A-A874-9A9126C37316}"/>
              </a:ext>
            </a:extLst>
          </p:cNvPr>
          <p:cNvGrpSpPr/>
          <p:nvPr userDrawn="1"/>
        </p:nvGrpSpPr>
        <p:grpSpPr>
          <a:xfrm>
            <a:off x="491021" y="697823"/>
            <a:ext cx="1506056" cy="0"/>
            <a:chOff x="519596" y="783548"/>
            <a:chExt cx="1506056" cy="0"/>
          </a:xfrm>
        </p:grpSpPr>
        <p:cxnSp>
          <p:nvCxnSpPr>
            <p:cNvPr id="15" name="Straight Connector 14">
              <a:extLst>
                <a:ext uri="{FF2B5EF4-FFF2-40B4-BE49-F238E27FC236}">
                  <a16:creationId xmlns:a16="http://schemas.microsoft.com/office/drawing/2014/main" id="{E8BF34C8-0A21-46E9-8FEC-AFF20D6E5401}"/>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072370-8D3B-4750-B664-E57BD181D89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95000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2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lvl1pPr>
              <a:defRPr>
                <a:solidFill>
                  <a:schemeClr val="bg1"/>
                </a:solidFill>
              </a:defRPr>
            </a:lvl1pPr>
          </a:lstStyle>
          <a:p>
            <a:r>
              <a:rPr lang="en-US"/>
              <a:t>Click to edit Master title style</a:t>
            </a:r>
          </a:p>
        </p:txBody>
      </p:sp>
      <p:sp>
        <p:nvSpPr>
          <p:cNvPr id="8" name="Copyright">
            <a:extLst>
              <a:ext uri="{FF2B5EF4-FFF2-40B4-BE49-F238E27FC236}">
                <a16:creationId xmlns:a16="http://schemas.microsoft.com/office/drawing/2014/main" id="{28646C8E-881A-41E8-91B7-34EFC1BCA709}"/>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FA8FD36C-BE7D-4743-A7FB-066026512ACC}"/>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2CFDE6F0-9DD7-4611-A100-836157D28728}"/>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3" name="Copyright">
            <a:extLst>
              <a:ext uri="{FF2B5EF4-FFF2-40B4-BE49-F238E27FC236}">
                <a16:creationId xmlns:a16="http://schemas.microsoft.com/office/drawing/2014/main" id="{678D25F2-2286-4BD3-B7C5-A47F1DCA2120}"/>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4" name="TextBox 13">
            <a:extLst>
              <a:ext uri="{FF2B5EF4-FFF2-40B4-BE49-F238E27FC236}">
                <a16:creationId xmlns:a16="http://schemas.microsoft.com/office/drawing/2014/main" id="{C41ACB2A-91FD-4830-9DDD-60B3E7C3295E}"/>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 name="Picture 14" descr="A picture containing laser&#10;&#10;Description automatically generated">
            <a:extLst>
              <a:ext uri="{FF2B5EF4-FFF2-40B4-BE49-F238E27FC236}">
                <a16:creationId xmlns:a16="http://schemas.microsoft.com/office/drawing/2014/main" id="{74F1E9A0-57EA-4E15-BB8F-5D2E6C57EB7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6" name="Text Placeholder 5">
            <a:extLst>
              <a:ext uri="{FF2B5EF4-FFF2-40B4-BE49-F238E27FC236}">
                <a16:creationId xmlns:a16="http://schemas.microsoft.com/office/drawing/2014/main" id="{E81F085E-9EE1-45A6-B5B7-77B0D04260D2}"/>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7" name="Group 16">
            <a:extLst>
              <a:ext uri="{FF2B5EF4-FFF2-40B4-BE49-F238E27FC236}">
                <a16:creationId xmlns:a16="http://schemas.microsoft.com/office/drawing/2014/main" id="{99BB047E-95F2-4DAA-B88A-B059183DB504}"/>
              </a:ext>
            </a:extLst>
          </p:cNvPr>
          <p:cNvGrpSpPr/>
          <p:nvPr userDrawn="1"/>
        </p:nvGrpSpPr>
        <p:grpSpPr>
          <a:xfrm>
            <a:off x="491021" y="697823"/>
            <a:ext cx="1506056" cy="0"/>
            <a:chOff x="519596" y="783548"/>
            <a:chExt cx="1506056" cy="0"/>
          </a:xfrm>
        </p:grpSpPr>
        <p:cxnSp>
          <p:nvCxnSpPr>
            <p:cNvPr id="18" name="Straight Connector 17">
              <a:extLst>
                <a:ext uri="{FF2B5EF4-FFF2-40B4-BE49-F238E27FC236}">
                  <a16:creationId xmlns:a16="http://schemas.microsoft.com/office/drawing/2014/main" id="{A6DBA670-EAB4-4B3B-9032-CDA7B214348D}"/>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DBFCB6-2B9B-43FE-BBAC-C375BBE09E2C}"/>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7518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3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pyright">
            <a:extLst>
              <a:ext uri="{FF2B5EF4-FFF2-40B4-BE49-F238E27FC236}">
                <a16:creationId xmlns:a16="http://schemas.microsoft.com/office/drawing/2014/main" id="{79DE97C1-DCB5-49D5-B7A6-64F05137378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A4ED8BFC-335A-4DD0-B9B3-9F53FD75DCB3}"/>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8B731F7-7F4C-437D-9D6B-E7154DA82149}"/>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pyright">
            <a:extLst>
              <a:ext uri="{FF2B5EF4-FFF2-40B4-BE49-F238E27FC236}">
                <a16:creationId xmlns:a16="http://schemas.microsoft.com/office/drawing/2014/main" id="{A694A948-69F4-4CE3-9D81-B0062C80955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38F4535A-D161-44ED-864D-5D93FB8CD1D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EE220963-B2DD-4EC4-BF25-4DD0DC1EC46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581465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 3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pyright">
            <a:extLst>
              <a:ext uri="{FF2B5EF4-FFF2-40B4-BE49-F238E27FC236}">
                <a16:creationId xmlns:a16="http://schemas.microsoft.com/office/drawing/2014/main" id="{A2C52049-E04E-45E8-A6CB-7CD0DE4AB5B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3BDBBC96-A251-4E28-AF48-9AAED4FD576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9CFC38E8-13E6-48D3-A87F-989F53FA7986}"/>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1" name="Rectangle 10">
            <a:extLst>
              <a:ext uri="{FF2B5EF4-FFF2-40B4-BE49-F238E27FC236}">
                <a16:creationId xmlns:a16="http://schemas.microsoft.com/office/drawing/2014/main" id="{00960907-619B-4501-922D-BCF53F72C280}"/>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Copyright">
            <a:extLst>
              <a:ext uri="{FF2B5EF4-FFF2-40B4-BE49-F238E27FC236}">
                <a16:creationId xmlns:a16="http://schemas.microsoft.com/office/drawing/2014/main" id="{D121D370-311F-417D-BF87-6C315582E8BD}"/>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3" name="TextBox 12">
            <a:extLst>
              <a:ext uri="{FF2B5EF4-FFF2-40B4-BE49-F238E27FC236}">
                <a16:creationId xmlns:a16="http://schemas.microsoft.com/office/drawing/2014/main" id="{B9C8E1D8-82B5-4DFA-A84D-B9CE88359D4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Picture 13" descr="A picture containing laser&#10;&#10;Description automatically generated">
            <a:extLst>
              <a:ext uri="{FF2B5EF4-FFF2-40B4-BE49-F238E27FC236}">
                <a16:creationId xmlns:a16="http://schemas.microsoft.com/office/drawing/2014/main" id="{8232BD63-7DA8-4931-B3A2-7CA67E09804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5" name="Text Placeholder 5">
            <a:extLst>
              <a:ext uri="{FF2B5EF4-FFF2-40B4-BE49-F238E27FC236}">
                <a16:creationId xmlns:a16="http://schemas.microsoft.com/office/drawing/2014/main" id="{4ACC5F5C-C44C-4ADA-B953-806897387AAE}"/>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3450630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4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lvl1pPr>
              <a:defRPr>
                <a:solidFill>
                  <a:schemeClr val="bg1"/>
                </a:solidFill>
              </a:defRPr>
            </a:lvl1pPr>
          </a:lstStyle>
          <a:p>
            <a:r>
              <a:rPr lang="en-US"/>
              <a:t>Click to edit Master title style</a:t>
            </a:r>
          </a:p>
        </p:txBody>
      </p:sp>
      <p:sp>
        <p:nvSpPr>
          <p:cNvPr id="9" name="Copyright">
            <a:extLst>
              <a:ext uri="{FF2B5EF4-FFF2-40B4-BE49-F238E27FC236}">
                <a16:creationId xmlns:a16="http://schemas.microsoft.com/office/drawing/2014/main" id="{ADD31008-2CFE-40F2-A9EC-946BFD90112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A2A29C3B-B033-4609-9B36-F28EB2D581B6}"/>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A picture containing laser&#10;&#10;Description automatically generated">
            <a:extLst>
              <a:ext uri="{FF2B5EF4-FFF2-40B4-BE49-F238E27FC236}">
                <a16:creationId xmlns:a16="http://schemas.microsoft.com/office/drawing/2014/main" id="{DEF1D6B1-F8EC-43D1-B5BB-2CB52DBCBAC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cxnSp>
        <p:nvCxnSpPr>
          <p:cNvPr id="12" name="Straight Connector 11">
            <a:extLst>
              <a:ext uri="{FF2B5EF4-FFF2-40B4-BE49-F238E27FC236}">
                <a16:creationId xmlns:a16="http://schemas.microsoft.com/office/drawing/2014/main" id="{2804AC1F-B532-43FA-93C6-2A046AD7CC52}"/>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92B5E9-6C1F-4650-956D-3C0821BBB2C5}"/>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opyright">
            <a:extLst>
              <a:ext uri="{FF2B5EF4-FFF2-40B4-BE49-F238E27FC236}">
                <a16:creationId xmlns:a16="http://schemas.microsoft.com/office/drawing/2014/main" id="{38812BA0-41B1-44A3-8188-0A9E3614E05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9360EDA3-1F5F-4025-882A-73A4F47C2AA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22CD0BC8-4A0A-45E6-9D46-262DCC5C4890}"/>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7" name="Text Placeholder 5">
            <a:extLst>
              <a:ext uri="{FF2B5EF4-FFF2-40B4-BE49-F238E27FC236}">
                <a16:creationId xmlns:a16="http://schemas.microsoft.com/office/drawing/2014/main" id="{F62A9BE0-4A26-4EA9-8FA0-D722DD64A3F1}"/>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4230138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AF2C7B5B-A484-43C3-8BE8-24C1C1F19B10}"/>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solidFill>
                  <a:schemeClr val="bg1"/>
                </a:solidFill>
              </a:defRPr>
            </a:lvl1pPr>
          </a:lstStyle>
          <a:p>
            <a:pPr lvl="0"/>
            <a:r>
              <a:rPr lang="en-US"/>
              <a:t>Click to edit Master text styles</a:t>
            </a:r>
          </a:p>
        </p:txBody>
      </p:sp>
      <p:sp>
        <p:nvSpPr>
          <p:cNvPr id="12" name="Copyright">
            <a:extLst>
              <a:ext uri="{FF2B5EF4-FFF2-40B4-BE49-F238E27FC236}">
                <a16:creationId xmlns:a16="http://schemas.microsoft.com/office/drawing/2014/main" id="{4A0CB83B-DCDB-4526-B40A-F103F6A1FA64}"/>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3A677BE5-FB0F-4514-9E3E-CCB4A2849D09}"/>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47F522FD-7373-403C-808B-465F091FE3E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8" name="Straight Connector 17">
            <a:extLst>
              <a:ext uri="{FF2B5EF4-FFF2-40B4-BE49-F238E27FC236}">
                <a16:creationId xmlns:a16="http://schemas.microsoft.com/office/drawing/2014/main" id="{A3F4856E-44BC-46BE-B013-99A57CB2BEE2}"/>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2A02FF-8431-463A-AC11-583FB2A15F90}"/>
              </a:ext>
            </a:extLst>
          </p:cNvPr>
          <p:cNvCxnSpPr>
            <a:cxnSpLocks/>
          </p:cNvCxnSpPr>
          <p:nvPr userDrawn="1"/>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C2F098-AB8A-45DC-9944-6F19B64E122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B6229E41-229D-49B6-8286-CB3FE783D739}"/>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4" name="Copyright">
            <a:extLst>
              <a:ext uri="{FF2B5EF4-FFF2-40B4-BE49-F238E27FC236}">
                <a16:creationId xmlns:a16="http://schemas.microsoft.com/office/drawing/2014/main" id="{E1475FC2-0641-416B-9DEE-5A3E46546353}"/>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5" name="TextBox 24">
            <a:extLst>
              <a:ext uri="{FF2B5EF4-FFF2-40B4-BE49-F238E27FC236}">
                <a16:creationId xmlns:a16="http://schemas.microsoft.com/office/drawing/2014/main" id="{F2B70917-72CA-4259-BBE0-083F94DFFDB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4218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1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05779"/>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91194AB2-50DA-4791-9DDC-FB8DA21E82B4}"/>
              </a:ext>
            </a:extLst>
          </p:cNvPr>
          <p:cNvPicPr>
            <a:picLocks noChangeAspect="1"/>
          </p:cNvPicPr>
          <p:nvPr userDrawn="1"/>
        </p:nvPicPr>
        <p:blipFill rotWithShape="1">
          <a:blip r:embed="rId2"/>
          <a:srcRect l="63268"/>
          <a:stretch/>
        </p:blipFill>
        <p:spPr>
          <a:xfrm>
            <a:off x="0" y="0"/>
            <a:ext cx="2203311" cy="6858000"/>
          </a:xfrm>
          <a:prstGeom prst="rect">
            <a:avLst/>
          </a:prstGeom>
        </p:spPr>
      </p:pic>
      <p:grpSp>
        <p:nvGrpSpPr>
          <p:cNvPr id="12" name="Group 11">
            <a:extLst>
              <a:ext uri="{FF2B5EF4-FFF2-40B4-BE49-F238E27FC236}">
                <a16:creationId xmlns:a16="http://schemas.microsoft.com/office/drawing/2014/main" id="{6EF46F36-B9C6-4718-BA40-D95FB1786681}"/>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98D4A47D-1F67-4E07-8823-4317BDCE726F}"/>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E18C33-F1BE-493A-B894-B3312AD3B57F}"/>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99FE174-C60F-4604-B05C-007620DEE26B}"/>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tx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schemeClr val="bg1"/>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466624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2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A person in a garment&#10;&#10;Description automatically generated with low confidence">
            <a:extLst>
              <a:ext uri="{FF2B5EF4-FFF2-40B4-BE49-F238E27FC236}">
                <a16:creationId xmlns:a16="http://schemas.microsoft.com/office/drawing/2014/main" id="{73A9508B-656B-4D05-926C-B39FE70256B3}"/>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pic>
        <p:nvPicPr>
          <p:cNvPr id="18" name="Picture 17" descr="Shape, circle&#10;&#10;Description automatically generated">
            <a:extLst>
              <a:ext uri="{FF2B5EF4-FFF2-40B4-BE49-F238E27FC236}">
                <a16:creationId xmlns:a16="http://schemas.microsoft.com/office/drawing/2014/main" id="{C85AA70E-2A7A-4177-AF09-86A68A9B9D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06ACE50B-27CB-40A1-A1E1-8D741882EC02}"/>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648B8892-484D-458C-89E7-D873399639A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AC3FDA08-024E-425B-9E06-7AC050248A5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3F189267-9909-439C-B55C-50D123D365F6}"/>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64A00149-96A9-4F27-937C-D1647C7B3E2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C0EEEBD-4F25-4E34-AC4E-AF2BDE35FA7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AF00AE9-615A-4A45-8517-64DA4B5D90BA}"/>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51BF8946-A24F-43C8-AEB6-1BEACBC5878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05E320B7-F7AF-4D55-A3B7-2C26B26048E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C905B5D6-0B3E-4F9F-9CA9-BF77C7D9238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A5B64C8A-42C1-4631-B015-CDAB53CD9F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descr="A person in a garment&#10;&#10;Description automatically generated with low confidence">
            <a:extLst>
              <a:ext uri="{FF2B5EF4-FFF2-40B4-BE49-F238E27FC236}">
                <a16:creationId xmlns:a16="http://schemas.microsoft.com/office/drawing/2014/main" id="{BD9E1D64-81AD-4453-BC41-80EA0F9BCB03}"/>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spTree>
    <p:extLst>
      <p:ext uri="{BB962C8B-B14F-4D97-AF65-F5344CB8AC3E}">
        <p14:creationId xmlns:p14="http://schemas.microsoft.com/office/powerpoint/2010/main" val="39172645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2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grpSp>
        <p:nvGrpSpPr>
          <p:cNvPr id="11" name="Group 10">
            <a:extLst>
              <a:ext uri="{FF2B5EF4-FFF2-40B4-BE49-F238E27FC236}">
                <a16:creationId xmlns:a16="http://schemas.microsoft.com/office/drawing/2014/main" id="{F347AEB0-A497-4344-A2C7-5EBAC00A3E1C}"/>
              </a:ext>
            </a:extLst>
          </p:cNvPr>
          <p:cNvGrpSpPr/>
          <p:nvPr/>
        </p:nvGrpSpPr>
        <p:grpSpPr>
          <a:xfrm>
            <a:off x="2900757" y="3726581"/>
            <a:ext cx="1506056" cy="0"/>
            <a:chOff x="6335918" y="3329609"/>
            <a:chExt cx="1506056" cy="0"/>
          </a:xfrm>
        </p:grpSpPr>
        <p:cxnSp>
          <p:nvCxnSpPr>
            <p:cNvPr id="12" name="Straight Connector 11">
              <a:extLst>
                <a:ext uri="{FF2B5EF4-FFF2-40B4-BE49-F238E27FC236}">
                  <a16:creationId xmlns:a16="http://schemas.microsoft.com/office/drawing/2014/main" id="{93E4866A-5393-46AC-8283-B23A7ECB7BB3}"/>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DE3CFA-6726-4090-8D96-02BCFE1D8FD3}"/>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Text Placeholder 14">
            <a:extLst>
              <a:ext uri="{FF2B5EF4-FFF2-40B4-BE49-F238E27FC236}">
                <a16:creationId xmlns:a16="http://schemas.microsoft.com/office/drawing/2014/main" id="{B64B9021-2052-4A08-B158-9A97E0092089}"/>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5" name="Picture 4" descr="A picture containing laser&#10;&#10;Description automatically generated">
            <a:extLst>
              <a:ext uri="{FF2B5EF4-FFF2-40B4-BE49-F238E27FC236}">
                <a16:creationId xmlns:a16="http://schemas.microsoft.com/office/drawing/2014/main" id="{2B7EE374-D9AA-4EB8-B25E-5712B15F7E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78" y="2652718"/>
            <a:ext cx="1557652" cy="1552561"/>
          </a:xfrm>
          <a:prstGeom prst="ellipse">
            <a:avLst/>
          </a:prstGeom>
        </p:spPr>
      </p:pic>
    </p:spTree>
    <p:extLst>
      <p:ext uri="{BB962C8B-B14F-4D97-AF65-F5344CB8AC3E}">
        <p14:creationId xmlns:p14="http://schemas.microsoft.com/office/powerpoint/2010/main" val="3227994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3_B">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laser&#10;&#10;Description automatically generated">
            <a:extLst>
              <a:ext uri="{FF2B5EF4-FFF2-40B4-BE49-F238E27FC236}">
                <a16:creationId xmlns:a16="http://schemas.microsoft.com/office/drawing/2014/main" id="{2CEB665E-230F-4060-B801-6689CB0EABF1}"/>
              </a:ext>
            </a:extLst>
          </p:cNvPr>
          <p:cNvPicPr>
            <a:picLocks noChangeAspect="1"/>
          </p:cNvPicPr>
          <p:nvPr/>
        </p:nvPicPr>
        <p:blipFill rotWithShape="1">
          <a:blip r:embed="rId3">
            <a:extLst>
              <a:ext uri="{28A0092B-C50C-407E-A947-70E740481C1C}">
                <a14:useLocalDpi xmlns:a14="http://schemas.microsoft.com/office/drawing/2010/main" val="0"/>
              </a:ext>
            </a:extLst>
          </a:blip>
          <a:srcRect r="32395"/>
          <a:stretch/>
        </p:blipFill>
        <p:spPr>
          <a:xfrm>
            <a:off x="8629534" y="802860"/>
            <a:ext cx="3562462" cy="5252280"/>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5" name="Text Placeholder 16">
            <a:extLst>
              <a:ext uri="{FF2B5EF4-FFF2-40B4-BE49-F238E27FC236}">
                <a16:creationId xmlns:a16="http://schemas.microsoft.com/office/drawing/2014/main" id="{F8E563E6-6D92-4031-89FA-AE17F8B32FEE}"/>
              </a:ext>
            </a:extLst>
          </p:cNvPr>
          <p:cNvSpPr>
            <a:spLocks noGrp="1"/>
          </p:cNvSpPr>
          <p:nvPr>
            <p:ph type="body" sz="quarter" idx="10" hasCustomPrompt="1"/>
          </p:nvPr>
        </p:nvSpPr>
        <p:spPr>
          <a:xfrm>
            <a:off x="469900" y="1251030"/>
            <a:ext cx="5165587"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165752"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Tree>
    <p:extLst>
      <p:ext uri="{BB962C8B-B14F-4D97-AF65-F5344CB8AC3E}">
        <p14:creationId xmlns:p14="http://schemas.microsoft.com/office/powerpoint/2010/main" val="4200502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ighlight_B">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65177ED5-5DD9-4A1F-B368-65CB460FA279}"/>
              </a:ext>
            </a:extLst>
          </p:cNvPr>
          <p:cNvSpPr/>
          <p:nvPr userDrawn="1"/>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bg1"/>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1439413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ext Steps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0" name="Picture 19" descr="A picture containing laser&#10;&#10;Description automatically generated">
            <a:extLst>
              <a:ext uri="{FF2B5EF4-FFF2-40B4-BE49-F238E27FC236}">
                <a16:creationId xmlns:a16="http://schemas.microsoft.com/office/drawing/2014/main" id="{21E69628-C90D-43E3-9E0A-23625656B953}"/>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F65BE269-7984-49A8-A56E-177D2F713352}"/>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1" name="Copyright">
            <a:extLst>
              <a:ext uri="{FF2B5EF4-FFF2-40B4-BE49-F238E27FC236}">
                <a16:creationId xmlns:a16="http://schemas.microsoft.com/office/drawing/2014/main" id="{4C54DA54-7ED0-4C5D-884A-3410C9985E0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3" name="TextBox 22">
            <a:extLst>
              <a:ext uri="{FF2B5EF4-FFF2-40B4-BE49-F238E27FC236}">
                <a16:creationId xmlns:a16="http://schemas.microsoft.com/office/drawing/2014/main" id="{FBD08E0E-272E-4743-A23B-EB2D215E4C10}"/>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descr="A picture containing laser&#10;&#10;Description automatically generated">
            <a:extLst>
              <a:ext uri="{FF2B5EF4-FFF2-40B4-BE49-F238E27FC236}">
                <a16:creationId xmlns:a16="http://schemas.microsoft.com/office/drawing/2014/main" id="{69EC455E-62EE-47E9-960D-07418EDE27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24" name="Straight Connector 23">
            <a:extLst>
              <a:ext uri="{FF2B5EF4-FFF2-40B4-BE49-F238E27FC236}">
                <a16:creationId xmlns:a16="http://schemas.microsoft.com/office/drawing/2014/main" id="{0275938F-5C6A-4A55-8E43-C85FD537E731}"/>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122F65-2CF0-4599-A85B-C6926F43228F}"/>
              </a:ext>
            </a:extLst>
          </p:cNvPr>
          <p:cNvCxnSpPr>
            <a:cxnSpLocks/>
          </p:cNvCxnSpPr>
          <p:nvPr userDrawn="1"/>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8BC29E-C692-4FBE-AF8B-E32B64C82D5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8" name="Copyright">
            <a:extLst>
              <a:ext uri="{FF2B5EF4-FFF2-40B4-BE49-F238E27FC236}">
                <a16:creationId xmlns:a16="http://schemas.microsoft.com/office/drawing/2014/main" id="{8E1844DD-D813-496C-AE63-4C9BA6B31E18}"/>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32" name="TextBox 31">
            <a:extLst>
              <a:ext uri="{FF2B5EF4-FFF2-40B4-BE49-F238E27FC236}">
                <a16:creationId xmlns:a16="http://schemas.microsoft.com/office/drawing/2014/main" id="{91F72237-079C-4E98-8A1E-7BC51622E0A7}"/>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85717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White End">
    <p:spTree>
      <p:nvGrpSpPr>
        <p:cNvPr id="1" name=""/>
        <p:cNvGrpSpPr/>
        <p:nvPr/>
      </p:nvGrpSpPr>
      <p:grpSpPr>
        <a:xfrm>
          <a:off x="0" y="0"/>
          <a:ext cx="0" cy="0"/>
          <a:chOff x="0" y="0"/>
          <a:chExt cx="0" cy="0"/>
        </a:xfrm>
      </p:grpSpPr>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8" name="Group 27">
            <a:extLst>
              <a:ext uri="{FF2B5EF4-FFF2-40B4-BE49-F238E27FC236}">
                <a16:creationId xmlns:a16="http://schemas.microsoft.com/office/drawing/2014/main" id="{2A85C508-D3F0-455A-B30A-A5EAA4D9225D}"/>
              </a:ext>
            </a:extLst>
          </p:cNvPr>
          <p:cNvGrpSpPr>
            <a:grpSpLocks noChangeAspect="1"/>
          </p:cNvGrpSpPr>
          <p:nvPr/>
        </p:nvGrpSpPr>
        <p:grpSpPr>
          <a:xfrm>
            <a:off x="469887" y="457761"/>
            <a:ext cx="1998000" cy="374400"/>
            <a:chOff x="398463" y="404813"/>
            <a:chExt cx="1627187" cy="307976"/>
          </a:xfrm>
          <a:solidFill>
            <a:schemeClr val="tx1"/>
          </a:solidFill>
        </p:grpSpPr>
        <p:sp>
          <p:nvSpPr>
            <p:cNvPr id="29" name="Oval 28">
              <a:extLst>
                <a:ext uri="{FF2B5EF4-FFF2-40B4-BE49-F238E27FC236}">
                  <a16:creationId xmlns:a16="http://schemas.microsoft.com/office/drawing/2014/main" id="{F3F22607-7F66-41C0-82BE-F939C5AF94A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6">
              <a:extLst>
                <a:ext uri="{FF2B5EF4-FFF2-40B4-BE49-F238E27FC236}">
                  <a16:creationId xmlns:a16="http://schemas.microsoft.com/office/drawing/2014/main" id="{B496DD5F-70C8-4063-B4F9-F733707850D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30">
              <a:extLst>
                <a:ext uri="{FF2B5EF4-FFF2-40B4-BE49-F238E27FC236}">
                  <a16:creationId xmlns:a16="http://schemas.microsoft.com/office/drawing/2014/main" id="{1B375E5F-FF8E-4E58-BB43-895D12F77BC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8">
              <a:extLst>
                <a:ext uri="{FF2B5EF4-FFF2-40B4-BE49-F238E27FC236}">
                  <a16:creationId xmlns:a16="http://schemas.microsoft.com/office/drawing/2014/main" id="{E1DB3A0A-E6F5-43C4-9B5E-B80053326D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32">
              <a:extLst>
                <a:ext uri="{FF2B5EF4-FFF2-40B4-BE49-F238E27FC236}">
                  <a16:creationId xmlns:a16="http://schemas.microsoft.com/office/drawing/2014/main" id="{DA872A6D-236E-4E76-A629-CC7A4285F5F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Rectangle 33">
              <a:extLst>
                <a:ext uri="{FF2B5EF4-FFF2-40B4-BE49-F238E27FC236}">
                  <a16:creationId xmlns:a16="http://schemas.microsoft.com/office/drawing/2014/main" id="{43C0A187-827F-426B-9463-418C274DD26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a:extLst>
                <a:ext uri="{FF2B5EF4-FFF2-40B4-BE49-F238E27FC236}">
                  <a16:creationId xmlns:a16="http://schemas.microsoft.com/office/drawing/2014/main" id="{7AF6DB68-70C5-4FCF-B3E4-AB0C97E018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2">
              <a:extLst>
                <a:ext uri="{FF2B5EF4-FFF2-40B4-BE49-F238E27FC236}">
                  <a16:creationId xmlns:a16="http://schemas.microsoft.com/office/drawing/2014/main" id="{7C0FADA8-4723-4AC9-A620-C81E6186E5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3">
              <a:extLst>
                <a:ext uri="{FF2B5EF4-FFF2-40B4-BE49-F238E27FC236}">
                  <a16:creationId xmlns:a16="http://schemas.microsoft.com/office/drawing/2014/main" id="{26D55822-CF6E-45F5-9FC7-EE6E44BA21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14">
              <a:extLst>
                <a:ext uri="{FF2B5EF4-FFF2-40B4-BE49-F238E27FC236}">
                  <a16:creationId xmlns:a16="http://schemas.microsoft.com/office/drawing/2014/main" id="{B71BAC81-C35B-4444-A818-7ADDDA501954}"/>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15" name="Picture 14" descr="Shape, circle&#10;&#10;Description automatically generated">
            <a:extLst>
              <a:ext uri="{FF2B5EF4-FFF2-40B4-BE49-F238E27FC236}">
                <a16:creationId xmlns:a16="http://schemas.microsoft.com/office/drawing/2014/main" id="{7DF691D9-9396-4E35-ADF9-60DA3162EB98}"/>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7" name="Rectangle 16">
            <a:extLst>
              <a:ext uri="{FF2B5EF4-FFF2-40B4-BE49-F238E27FC236}">
                <a16:creationId xmlns:a16="http://schemas.microsoft.com/office/drawing/2014/main" id="{BAA09169-2404-4BD7-9733-14CFCFFD25CA}"/>
              </a:ext>
            </a:extLst>
          </p:cNvPr>
          <p:cNvSpPr/>
          <p:nvPr userDrawn="1"/>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1772B851-0253-4EBF-AA2A-D797317B185F}"/>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AFDCA92-D865-4D3A-84C2-AD8E5A3DF9C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92E72EC2-1EE1-4C7C-BEAB-C1CE73812D8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4D67C340-30F0-48DD-91BC-572C2776422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0715205E-0088-4DDD-931D-C0EB2C762B5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5CA2DD42-1F2F-45A6-93D6-646F3E218B98}"/>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5FC0ABA-7179-49DA-AA3C-1B989336DA9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298D111B-842E-47A5-B537-D555A955038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512FDBF3-488F-409D-90A0-970ECFB270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CDADC0DA-2E82-40B0-B0FF-D0D7E29ADEC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Freeform 14">
              <a:extLst>
                <a:ext uri="{FF2B5EF4-FFF2-40B4-BE49-F238E27FC236}">
                  <a16:creationId xmlns:a16="http://schemas.microsoft.com/office/drawing/2014/main" id="{40FF031B-D1BF-4115-8EB7-25770C640C2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1342720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White End Thank you">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A0521190-B8EC-43EA-B293-61DA47660DC4}"/>
              </a:ext>
            </a:extLst>
          </p:cNvPr>
          <p:cNvPicPr>
            <a:picLocks noChangeAspect="1"/>
          </p:cNvPicPr>
          <p:nvPr/>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DD1F358C-A8C7-484B-AD1B-BCC48CDA6D6D}"/>
              </a:ext>
            </a:extLst>
          </p:cNvPr>
          <p:cNvGrpSpPr/>
          <p:nvPr/>
        </p:nvGrpSpPr>
        <p:grpSpPr>
          <a:xfrm>
            <a:off x="469887" y="3246132"/>
            <a:ext cx="5167087" cy="1200622"/>
            <a:chOff x="2462438" y="2564215"/>
            <a:chExt cx="7143662" cy="1865382"/>
          </a:xfrm>
        </p:grpSpPr>
        <p:sp>
          <p:nvSpPr>
            <p:cNvPr id="19" name="Rectangle: Diagonal Corners Rounded 18">
              <a:extLst>
                <a:ext uri="{FF2B5EF4-FFF2-40B4-BE49-F238E27FC236}">
                  <a16:creationId xmlns:a16="http://schemas.microsoft.com/office/drawing/2014/main" id="{9AA88737-140A-4AFB-9ABB-1E62F5BDB92A}"/>
                </a:ext>
              </a:extLst>
            </p:cNvPr>
            <p:cNvSpPr/>
            <p:nvPr/>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0" name="Group 19">
              <a:extLst>
                <a:ext uri="{FF2B5EF4-FFF2-40B4-BE49-F238E27FC236}">
                  <a16:creationId xmlns:a16="http://schemas.microsoft.com/office/drawing/2014/main" id="{C98609EC-CCF7-4925-A9C7-C9BCAA1C83C6}"/>
                </a:ext>
              </a:extLst>
            </p:cNvPr>
            <p:cNvGrpSpPr/>
            <p:nvPr/>
          </p:nvGrpSpPr>
          <p:grpSpPr>
            <a:xfrm>
              <a:off x="2585901" y="2564215"/>
              <a:ext cx="7020199" cy="1729570"/>
              <a:chOff x="1866626" y="1889931"/>
              <a:chExt cx="7020199" cy="1729570"/>
            </a:xfrm>
            <a:solidFill>
              <a:schemeClr val="accent1"/>
            </a:solidFill>
          </p:grpSpPr>
          <p:sp>
            <p:nvSpPr>
              <p:cNvPr id="21" name="Rectangle: Diagonal Corners Rounded 20">
                <a:extLst>
                  <a:ext uri="{FF2B5EF4-FFF2-40B4-BE49-F238E27FC236}">
                    <a16:creationId xmlns:a16="http://schemas.microsoft.com/office/drawing/2014/main" id="{B0E1CE94-747A-401B-9665-6173C07F6855}"/>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22" name="Text Placeholder 18">
                <a:extLst>
                  <a:ext uri="{FF2B5EF4-FFF2-40B4-BE49-F238E27FC236}">
                    <a16:creationId xmlns:a16="http://schemas.microsoft.com/office/drawing/2014/main" id="{917808DD-3DF3-4413-AF72-8AF928A3A457}"/>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4" name="Group 33">
            <a:extLst>
              <a:ext uri="{FF2B5EF4-FFF2-40B4-BE49-F238E27FC236}">
                <a16:creationId xmlns:a16="http://schemas.microsoft.com/office/drawing/2014/main" id="{79575920-6603-4458-AF7E-647324C77F31}"/>
              </a:ext>
            </a:extLst>
          </p:cNvPr>
          <p:cNvGrpSpPr>
            <a:grpSpLocks noChangeAspect="1"/>
          </p:cNvGrpSpPr>
          <p:nvPr/>
        </p:nvGrpSpPr>
        <p:grpSpPr>
          <a:xfrm>
            <a:off x="469887" y="457761"/>
            <a:ext cx="1998000" cy="374400"/>
            <a:chOff x="398463" y="404813"/>
            <a:chExt cx="1627187" cy="307976"/>
          </a:xfrm>
          <a:solidFill>
            <a:schemeClr val="tx1"/>
          </a:solidFill>
        </p:grpSpPr>
        <p:sp>
          <p:nvSpPr>
            <p:cNvPr id="35" name="Oval 34">
              <a:extLst>
                <a:ext uri="{FF2B5EF4-FFF2-40B4-BE49-F238E27FC236}">
                  <a16:creationId xmlns:a16="http://schemas.microsoft.com/office/drawing/2014/main" id="{E58BBE3D-6220-4688-A4CC-599072C3FAF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6">
              <a:extLst>
                <a:ext uri="{FF2B5EF4-FFF2-40B4-BE49-F238E27FC236}">
                  <a16:creationId xmlns:a16="http://schemas.microsoft.com/office/drawing/2014/main" id="{4CEF43D7-7067-4162-8E17-783967DFDD6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Rectangle 36">
              <a:extLst>
                <a:ext uri="{FF2B5EF4-FFF2-40B4-BE49-F238E27FC236}">
                  <a16:creationId xmlns:a16="http://schemas.microsoft.com/office/drawing/2014/main" id="{3C30EC19-65FA-4BA9-830D-19C0D94157B5}"/>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8">
              <a:extLst>
                <a:ext uri="{FF2B5EF4-FFF2-40B4-BE49-F238E27FC236}">
                  <a16:creationId xmlns:a16="http://schemas.microsoft.com/office/drawing/2014/main" id="{3C451AED-71FF-4278-85AB-348C07587F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Rectangle 38">
              <a:extLst>
                <a:ext uri="{FF2B5EF4-FFF2-40B4-BE49-F238E27FC236}">
                  <a16:creationId xmlns:a16="http://schemas.microsoft.com/office/drawing/2014/main" id="{13104377-591A-4456-93DE-65195973D379}"/>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0" name="Rectangle 39">
              <a:extLst>
                <a:ext uri="{FF2B5EF4-FFF2-40B4-BE49-F238E27FC236}">
                  <a16:creationId xmlns:a16="http://schemas.microsoft.com/office/drawing/2014/main" id="{0877EA0E-EAC0-4D9E-BAF7-3C0A42604DD5}"/>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1">
              <a:extLst>
                <a:ext uri="{FF2B5EF4-FFF2-40B4-BE49-F238E27FC236}">
                  <a16:creationId xmlns:a16="http://schemas.microsoft.com/office/drawing/2014/main" id="{CAF8EB98-0D92-453B-9E1C-5473DEFE4F7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2" name="Freeform 12">
              <a:extLst>
                <a:ext uri="{FF2B5EF4-FFF2-40B4-BE49-F238E27FC236}">
                  <a16:creationId xmlns:a16="http://schemas.microsoft.com/office/drawing/2014/main" id="{D0C8C202-F720-4B66-B8E2-498D79D7666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3" name="Freeform 13">
              <a:extLst>
                <a:ext uri="{FF2B5EF4-FFF2-40B4-BE49-F238E27FC236}">
                  <a16:creationId xmlns:a16="http://schemas.microsoft.com/office/drawing/2014/main" id="{98455F9E-A532-4EE9-BBE6-E4E7D9283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4" name="Freeform 14">
              <a:extLst>
                <a:ext uri="{FF2B5EF4-FFF2-40B4-BE49-F238E27FC236}">
                  <a16:creationId xmlns:a16="http://schemas.microsoft.com/office/drawing/2014/main" id="{BB5BFCBC-219A-4E2C-8AC3-EA35A873C1F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23" name="Picture 22" descr="Background pattern&#10;&#10;Description automatically generated">
            <a:extLst>
              <a:ext uri="{FF2B5EF4-FFF2-40B4-BE49-F238E27FC236}">
                <a16:creationId xmlns:a16="http://schemas.microsoft.com/office/drawing/2014/main" id="{19AC8313-FFEF-4DF0-A797-C52B86AFAC47}"/>
              </a:ext>
            </a:extLst>
          </p:cNvPr>
          <p:cNvPicPr>
            <a:picLocks noChangeAspect="1"/>
          </p:cNvPicPr>
          <p:nvPr userDrawn="1"/>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24" name="Picture 23" descr="Shape, circle&#10;&#10;Description automatically generated">
            <a:extLst>
              <a:ext uri="{FF2B5EF4-FFF2-40B4-BE49-F238E27FC236}">
                <a16:creationId xmlns:a16="http://schemas.microsoft.com/office/drawing/2014/main" id="{52C82378-34D7-4E63-8E66-0C94A7F59D29}"/>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25" name="Rectangle 24">
            <a:extLst>
              <a:ext uri="{FF2B5EF4-FFF2-40B4-BE49-F238E27FC236}">
                <a16:creationId xmlns:a16="http://schemas.microsoft.com/office/drawing/2014/main" id="{BE32F09E-26A5-4393-A78F-99AE970DDFE6}"/>
              </a:ext>
            </a:extLst>
          </p:cNvPr>
          <p:cNvSpPr/>
          <p:nvPr userDrawn="1"/>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6" name="Group 25">
            <a:extLst>
              <a:ext uri="{FF2B5EF4-FFF2-40B4-BE49-F238E27FC236}">
                <a16:creationId xmlns:a16="http://schemas.microsoft.com/office/drawing/2014/main" id="{4CC9AC77-E38E-4A13-88D0-D5364050B1A7}"/>
              </a:ext>
            </a:extLst>
          </p:cNvPr>
          <p:cNvGrpSpPr/>
          <p:nvPr userDrawn="1"/>
        </p:nvGrpSpPr>
        <p:grpSpPr>
          <a:xfrm>
            <a:off x="469887" y="3246132"/>
            <a:ext cx="5167087" cy="1200622"/>
            <a:chOff x="2462438" y="2564215"/>
            <a:chExt cx="7143662" cy="1865382"/>
          </a:xfrm>
        </p:grpSpPr>
        <p:sp>
          <p:nvSpPr>
            <p:cNvPr id="27" name="Rectangle: Diagonal Corners Rounded 26">
              <a:extLst>
                <a:ext uri="{FF2B5EF4-FFF2-40B4-BE49-F238E27FC236}">
                  <a16:creationId xmlns:a16="http://schemas.microsoft.com/office/drawing/2014/main" id="{C70B17A8-3D8C-4FA7-9FAE-A82268CF3874}"/>
                </a:ext>
              </a:extLst>
            </p:cNvPr>
            <p:cNvSpPr/>
            <p:nvPr userDrawn="1"/>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C4683DAF-D365-400A-8EF4-DB382A967A95}"/>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4FAAFC5A-5DC4-48B7-9E60-9BEEA782FCBE}"/>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257109DA-F2AF-4ED0-99BA-62F0B07B8881}"/>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1" name="Group 30">
            <a:extLst>
              <a:ext uri="{FF2B5EF4-FFF2-40B4-BE49-F238E27FC236}">
                <a16:creationId xmlns:a16="http://schemas.microsoft.com/office/drawing/2014/main" id="{31AC8DC7-84AF-4C10-9053-A14F2BC996E5}"/>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32" name="Oval 31">
              <a:extLst>
                <a:ext uri="{FF2B5EF4-FFF2-40B4-BE49-F238E27FC236}">
                  <a16:creationId xmlns:a16="http://schemas.microsoft.com/office/drawing/2014/main" id="{EDA9ACD7-C14D-4656-84C6-BD8072323F8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6">
              <a:extLst>
                <a:ext uri="{FF2B5EF4-FFF2-40B4-BE49-F238E27FC236}">
                  <a16:creationId xmlns:a16="http://schemas.microsoft.com/office/drawing/2014/main" id="{EA14EEB2-FDE1-4E15-BC31-6BA74DC385C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5" name="Rectangle 44">
              <a:extLst>
                <a:ext uri="{FF2B5EF4-FFF2-40B4-BE49-F238E27FC236}">
                  <a16:creationId xmlns:a16="http://schemas.microsoft.com/office/drawing/2014/main" id="{ABD1A140-DCC1-4400-9CEE-E32289BA7E37}"/>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6" name="Freeform 8">
              <a:extLst>
                <a:ext uri="{FF2B5EF4-FFF2-40B4-BE49-F238E27FC236}">
                  <a16:creationId xmlns:a16="http://schemas.microsoft.com/office/drawing/2014/main" id="{1B57B618-DF74-4FD5-B2C5-8CEB750CA0C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7" name="Rectangle 46">
              <a:extLst>
                <a:ext uri="{FF2B5EF4-FFF2-40B4-BE49-F238E27FC236}">
                  <a16:creationId xmlns:a16="http://schemas.microsoft.com/office/drawing/2014/main" id="{BD038487-6E7D-4113-890A-EB92FADE3C3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8" name="Rectangle 47">
              <a:extLst>
                <a:ext uri="{FF2B5EF4-FFF2-40B4-BE49-F238E27FC236}">
                  <a16:creationId xmlns:a16="http://schemas.microsoft.com/office/drawing/2014/main" id="{73F47B90-3D9B-495A-9269-AD48CC248A7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1">
              <a:extLst>
                <a:ext uri="{FF2B5EF4-FFF2-40B4-BE49-F238E27FC236}">
                  <a16:creationId xmlns:a16="http://schemas.microsoft.com/office/drawing/2014/main" id="{0CB74B7F-25A8-4EDF-BA42-9625AA480B0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0" name="Freeform 12">
              <a:extLst>
                <a:ext uri="{FF2B5EF4-FFF2-40B4-BE49-F238E27FC236}">
                  <a16:creationId xmlns:a16="http://schemas.microsoft.com/office/drawing/2014/main" id="{8AD0E5FD-AE4C-445F-A484-C8FC700751B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1" name="Freeform 13">
              <a:extLst>
                <a:ext uri="{FF2B5EF4-FFF2-40B4-BE49-F238E27FC236}">
                  <a16:creationId xmlns:a16="http://schemas.microsoft.com/office/drawing/2014/main" id="{6DD67896-2CED-4DF2-86E9-582664B373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2" name="Freeform 14">
              <a:extLst>
                <a:ext uri="{FF2B5EF4-FFF2-40B4-BE49-F238E27FC236}">
                  <a16:creationId xmlns:a16="http://schemas.microsoft.com/office/drawing/2014/main" id="{D9AD29BE-2710-41C4-A494-9F26698794B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6924601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ck En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3"/>
          <a:srcRect t="16955" r="13876"/>
          <a:stretch/>
        </p:blipFill>
        <p:spPr>
          <a:xfrm>
            <a:off x="7155180" y="-1"/>
            <a:ext cx="5036820" cy="4856807"/>
          </a:xfrm>
          <a:prstGeom prst="rect">
            <a:avLst/>
          </a:prstGeom>
        </p:spPr>
      </p:pic>
      <p:grpSp>
        <p:nvGrpSpPr>
          <p:cNvPr id="54" name="Group 53">
            <a:extLst>
              <a:ext uri="{FF2B5EF4-FFF2-40B4-BE49-F238E27FC236}">
                <a16:creationId xmlns:a16="http://schemas.microsoft.com/office/drawing/2014/main" id="{AD41504F-1E29-479D-AAE3-70BF4D5493F1}"/>
              </a:ext>
            </a:extLst>
          </p:cNvPr>
          <p:cNvGrpSpPr>
            <a:grpSpLocks noChangeAspect="1"/>
          </p:cNvGrpSpPr>
          <p:nvPr/>
        </p:nvGrpSpPr>
        <p:grpSpPr>
          <a:xfrm>
            <a:off x="469900" y="457761"/>
            <a:ext cx="1998000" cy="374400"/>
            <a:chOff x="398463" y="404813"/>
            <a:chExt cx="1627187" cy="307976"/>
          </a:xfrm>
          <a:solidFill>
            <a:schemeClr val="tx1"/>
          </a:solidFill>
        </p:grpSpPr>
        <p:sp>
          <p:nvSpPr>
            <p:cNvPr id="55" name="Oval 5">
              <a:extLst>
                <a:ext uri="{FF2B5EF4-FFF2-40B4-BE49-F238E27FC236}">
                  <a16:creationId xmlns:a16="http://schemas.microsoft.com/office/drawing/2014/main" id="{01B911F9-369C-4CE5-BECC-B4F11A2FF5E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6">
              <a:extLst>
                <a:ext uri="{FF2B5EF4-FFF2-40B4-BE49-F238E27FC236}">
                  <a16:creationId xmlns:a16="http://schemas.microsoft.com/office/drawing/2014/main" id="{5DD74A84-BE14-4365-9955-C1617A9AD05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45201108-6515-46B4-BD72-9040DB1E9BE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id="{D273FD46-F720-4311-9A77-91072665440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9">
              <a:extLst>
                <a:ext uri="{FF2B5EF4-FFF2-40B4-BE49-F238E27FC236}">
                  <a16:creationId xmlns:a16="http://schemas.microsoft.com/office/drawing/2014/main" id="{17E81384-2557-4770-A451-F54B67E67E4D}"/>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10">
              <a:extLst>
                <a:ext uri="{FF2B5EF4-FFF2-40B4-BE49-F238E27FC236}">
                  <a16:creationId xmlns:a16="http://schemas.microsoft.com/office/drawing/2014/main" id="{3B75189D-1905-47CF-8346-A8DC489C0BF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id="{72B481C9-F3B2-4685-ACEC-35DB673DF91E}"/>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id="{6CD40FB5-37CD-439A-A2F3-089B2A7E97B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id="{8A492143-7554-44D8-89F8-ADB8F6E7E17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id="{F2A86C88-AC59-4125-8F02-977783C07EB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3D9C93DB-0253-4022-B671-506526C66D9A}"/>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17" name="Picture 16" descr="Shape, circle&#10;&#10;Description automatically generated">
            <a:extLst>
              <a:ext uri="{FF2B5EF4-FFF2-40B4-BE49-F238E27FC236}">
                <a16:creationId xmlns:a16="http://schemas.microsoft.com/office/drawing/2014/main" id="{5342F4B0-D406-4722-8027-97190090A396}"/>
              </a:ext>
            </a:extLst>
          </p:cNvPr>
          <p:cNvPicPr>
            <a:picLocks noChangeAspect="1"/>
          </p:cNvPicPr>
          <p:nvPr userDrawn="1"/>
        </p:nvPicPr>
        <p:blipFill rotWithShape="1">
          <a:blip r:embed="rId3"/>
          <a:srcRect t="16955" r="13876"/>
          <a:stretch/>
        </p:blipFill>
        <p:spPr>
          <a:xfrm>
            <a:off x="7155180" y="-1"/>
            <a:ext cx="5036820" cy="4856807"/>
          </a:xfrm>
          <a:prstGeom prst="rect">
            <a:avLst/>
          </a:prstGeom>
        </p:spPr>
      </p:pic>
      <p:grpSp>
        <p:nvGrpSpPr>
          <p:cNvPr id="18" name="Group 17">
            <a:extLst>
              <a:ext uri="{FF2B5EF4-FFF2-40B4-BE49-F238E27FC236}">
                <a16:creationId xmlns:a16="http://schemas.microsoft.com/office/drawing/2014/main" id="{CF5B4CCF-2C6D-48D4-920A-60943CF8DB2D}"/>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DF2150FE-EE96-4B2D-99DC-E0107B29AF9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4122CD46-68FA-423E-91F3-57232EA77E9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B464A844-AC6C-428D-95B3-0F64C80B5EE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26A2ABC-5760-4226-9219-9255F2C618C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DB83F151-0313-460C-86E6-8E03F55F85E5}"/>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31850CD-1D82-43C4-8B17-2677D3EF4D7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1604DBCC-F078-449B-9124-E3FD2248B2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574FA850-D951-4E95-A7E0-3374897032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3">
              <a:extLst>
                <a:ext uri="{FF2B5EF4-FFF2-40B4-BE49-F238E27FC236}">
                  <a16:creationId xmlns:a16="http://schemas.microsoft.com/office/drawing/2014/main" id="{8F11903B-FA58-469F-91C1-35338ADD9B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4">
              <a:extLst>
                <a:ext uri="{FF2B5EF4-FFF2-40B4-BE49-F238E27FC236}">
                  <a16:creationId xmlns:a16="http://schemas.microsoft.com/office/drawing/2014/main" id="{8941E102-4670-4C88-BD5F-02431F4F20D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184401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ck End Thank You">
    <p:bg>
      <p:bgPr>
        <a:solidFill>
          <a:schemeClr val="tx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4A900BE8-339B-48CB-9691-A2ECE02FA548}"/>
              </a:ext>
            </a:extLst>
          </p:cNvPr>
          <p:cNvPicPr>
            <a:picLocks noChangeAspect="1"/>
          </p:cNvPicPr>
          <p:nvPr/>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4"/>
          <a:srcRect t="16955" r="13876"/>
          <a:stretch/>
        </p:blipFill>
        <p:spPr>
          <a:xfrm>
            <a:off x="7155180" y="-1"/>
            <a:ext cx="5036820" cy="4856807"/>
          </a:xfrm>
          <a:prstGeom prst="rect">
            <a:avLst/>
          </a:prstGeom>
        </p:spPr>
      </p:pic>
      <p:grpSp>
        <p:nvGrpSpPr>
          <p:cNvPr id="26" name="Group 25">
            <a:extLst>
              <a:ext uri="{FF2B5EF4-FFF2-40B4-BE49-F238E27FC236}">
                <a16:creationId xmlns:a16="http://schemas.microsoft.com/office/drawing/2014/main" id="{2DA9A016-9F8E-4B39-8A43-0BCC510BB06D}"/>
              </a:ext>
            </a:extLst>
          </p:cNvPr>
          <p:cNvGrpSpPr/>
          <p:nvPr/>
        </p:nvGrpSpPr>
        <p:grpSpPr>
          <a:xfrm>
            <a:off x="469900" y="3241874"/>
            <a:ext cx="5167087" cy="1200622"/>
            <a:chOff x="2462438" y="2564215"/>
            <a:chExt cx="7143662" cy="1865382"/>
          </a:xfrm>
        </p:grpSpPr>
        <p:sp>
          <p:nvSpPr>
            <p:cNvPr id="27" name="Rectangle: Diagonal Corners Rounded 26">
              <a:extLst>
                <a:ext uri="{FF2B5EF4-FFF2-40B4-BE49-F238E27FC236}">
                  <a16:creationId xmlns:a16="http://schemas.microsoft.com/office/drawing/2014/main" id="{36E2897B-A3E6-4120-96A2-78BBA99AF963}"/>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BACB8CFD-6555-4A60-A40B-FA060441D1BE}"/>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3BBD1494-BCBC-40D6-BEBE-E6F1056D486C}"/>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7E3694A1-1594-45A9-A488-0E29DE970A0A}"/>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50" name="Group 49">
            <a:extLst>
              <a:ext uri="{FF2B5EF4-FFF2-40B4-BE49-F238E27FC236}">
                <a16:creationId xmlns:a16="http://schemas.microsoft.com/office/drawing/2014/main" id="{1C4F6BB6-860A-49BA-BC1B-3F8ED5DA642E}"/>
              </a:ext>
            </a:extLst>
          </p:cNvPr>
          <p:cNvGrpSpPr>
            <a:grpSpLocks noChangeAspect="1"/>
          </p:cNvGrpSpPr>
          <p:nvPr/>
        </p:nvGrpSpPr>
        <p:grpSpPr>
          <a:xfrm>
            <a:off x="469900" y="457761"/>
            <a:ext cx="1998000" cy="374400"/>
            <a:chOff x="398463" y="404813"/>
            <a:chExt cx="1627187" cy="307976"/>
          </a:xfrm>
          <a:solidFill>
            <a:schemeClr val="tx1"/>
          </a:solidFill>
        </p:grpSpPr>
        <p:sp>
          <p:nvSpPr>
            <p:cNvPr id="51" name="Oval 5">
              <a:extLst>
                <a:ext uri="{FF2B5EF4-FFF2-40B4-BE49-F238E27FC236}">
                  <a16:creationId xmlns:a16="http://schemas.microsoft.com/office/drawing/2014/main" id="{84E5D6BD-6C0D-44EA-98E9-7C960C5DD9E6}"/>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6">
              <a:extLst>
                <a:ext uri="{FF2B5EF4-FFF2-40B4-BE49-F238E27FC236}">
                  <a16:creationId xmlns:a16="http://schemas.microsoft.com/office/drawing/2014/main" id="{236E5C35-05E9-48B4-8E4E-A6116CC8E2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B9F2FDBE-C38C-47C6-98B8-AD77928C8A96}"/>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921C29AD-6EF8-4F05-A5A2-771BE93B4A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9">
              <a:extLst>
                <a:ext uri="{FF2B5EF4-FFF2-40B4-BE49-F238E27FC236}">
                  <a16:creationId xmlns:a16="http://schemas.microsoft.com/office/drawing/2014/main" id="{0BB84A79-784A-46AD-8C94-31E2B75FD2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10">
              <a:extLst>
                <a:ext uri="{FF2B5EF4-FFF2-40B4-BE49-F238E27FC236}">
                  <a16:creationId xmlns:a16="http://schemas.microsoft.com/office/drawing/2014/main" id="{69F850AF-83D0-4865-B9AE-CDA923C75DFF}"/>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6970C973-5DE6-4CB5-AB06-8BEE5605D72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2">
              <a:extLst>
                <a:ext uri="{FF2B5EF4-FFF2-40B4-BE49-F238E27FC236}">
                  <a16:creationId xmlns:a16="http://schemas.microsoft.com/office/drawing/2014/main" id="{3BA3DAD9-A769-4FE9-9048-7A7A82F2D4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3">
              <a:extLst>
                <a:ext uri="{FF2B5EF4-FFF2-40B4-BE49-F238E27FC236}">
                  <a16:creationId xmlns:a16="http://schemas.microsoft.com/office/drawing/2014/main" id="{869E178C-9F16-4CAF-94BB-BE875DFAFBE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4">
              <a:extLst>
                <a:ext uri="{FF2B5EF4-FFF2-40B4-BE49-F238E27FC236}">
                  <a16:creationId xmlns:a16="http://schemas.microsoft.com/office/drawing/2014/main" id="{C3D7A53F-AE4A-48C2-B773-5A84A115156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20" descr="Background pattern&#10;&#10;Description automatically generated">
            <a:extLst>
              <a:ext uri="{FF2B5EF4-FFF2-40B4-BE49-F238E27FC236}">
                <a16:creationId xmlns:a16="http://schemas.microsoft.com/office/drawing/2014/main" id="{7704A31E-ECB4-4F12-BBE5-AA3FEC01704C}"/>
              </a:ext>
            </a:extLst>
          </p:cNvPr>
          <p:cNvPicPr>
            <a:picLocks noChangeAspect="1"/>
          </p:cNvPicPr>
          <p:nvPr userDrawn="1"/>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22" name="Rectangle 21">
            <a:extLst>
              <a:ext uri="{FF2B5EF4-FFF2-40B4-BE49-F238E27FC236}">
                <a16:creationId xmlns:a16="http://schemas.microsoft.com/office/drawing/2014/main" id="{14B513C4-0FFE-4994-AA7C-20A47CDE4E17}"/>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3" name="Picture 22" descr="Shape, circle&#10;&#10;Description automatically generated">
            <a:extLst>
              <a:ext uri="{FF2B5EF4-FFF2-40B4-BE49-F238E27FC236}">
                <a16:creationId xmlns:a16="http://schemas.microsoft.com/office/drawing/2014/main" id="{42A911E8-906C-40A7-AA2E-9484A7206DC8}"/>
              </a:ext>
            </a:extLst>
          </p:cNvPr>
          <p:cNvPicPr>
            <a:picLocks noChangeAspect="1"/>
          </p:cNvPicPr>
          <p:nvPr userDrawn="1"/>
        </p:nvPicPr>
        <p:blipFill rotWithShape="1">
          <a:blip r:embed="rId4"/>
          <a:srcRect t="16955" r="13876"/>
          <a:stretch/>
        </p:blipFill>
        <p:spPr>
          <a:xfrm>
            <a:off x="7155180" y="-1"/>
            <a:ext cx="5036820" cy="4856807"/>
          </a:xfrm>
          <a:prstGeom prst="rect">
            <a:avLst/>
          </a:prstGeom>
        </p:spPr>
      </p:pic>
      <p:grpSp>
        <p:nvGrpSpPr>
          <p:cNvPr id="24" name="Group 23">
            <a:extLst>
              <a:ext uri="{FF2B5EF4-FFF2-40B4-BE49-F238E27FC236}">
                <a16:creationId xmlns:a16="http://schemas.microsoft.com/office/drawing/2014/main" id="{47612D29-5A39-4FEE-B60A-224572499F5A}"/>
              </a:ext>
            </a:extLst>
          </p:cNvPr>
          <p:cNvGrpSpPr/>
          <p:nvPr userDrawn="1"/>
        </p:nvGrpSpPr>
        <p:grpSpPr>
          <a:xfrm>
            <a:off x="469900" y="3241874"/>
            <a:ext cx="5167087" cy="1200622"/>
            <a:chOff x="2462438" y="2564215"/>
            <a:chExt cx="7143662" cy="1865382"/>
          </a:xfrm>
        </p:grpSpPr>
        <p:sp>
          <p:nvSpPr>
            <p:cNvPr id="32" name="Rectangle: Diagonal Corners Rounded 31">
              <a:extLst>
                <a:ext uri="{FF2B5EF4-FFF2-40B4-BE49-F238E27FC236}">
                  <a16:creationId xmlns:a16="http://schemas.microsoft.com/office/drawing/2014/main" id="{42207CF2-C4B4-48B7-B972-A3AE52049A8D}"/>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022FD7AE-DE74-4A2D-AE84-AEFF4C27CD10}"/>
                </a:ext>
              </a:extLst>
            </p:cNvPr>
            <p:cNvGrpSpPr/>
            <p:nvPr/>
          </p:nvGrpSpPr>
          <p:grpSpPr>
            <a:xfrm>
              <a:off x="2585901" y="2564215"/>
              <a:ext cx="7020199" cy="1729570"/>
              <a:chOff x="1866626" y="1889931"/>
              <a:chExt cx="7020199" cy="1729570"/>
            </a:xfrm>
            <a:solidFill>
              <a:schemeClr val="accent1"/>
            </a:solidFill>
          </p:grpSpPr>
          <p:sp>
            <p:nvSpPr>
              <p:cNvPr id="34" name="Rectangle: Diagonal Corners Rounded 33">
                <a:extLst>
                  <a:ext uri="{FF2B5EF4-FFF2-40B4-BE49-F238E27FC236}">
                    <a16:creationId xmlns:a16="http://schemas.microsoft.com/office/drawing/2014/main" id="{020318CD-93F3-4994-9ABF-629EF0D19B1E}"/>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5" name="Text Placeholder 18">
                <a:extLst>
                  <a:ext uri="{FF2B5EF4-FFF2-40B4-BE49-F238E27FC236}">
                    <a16:creationId xmlns:a16="http://schemas.microsoft.com/office/drawing/2014/main" id="{A5C3A1DA-937E-47A1-8E51-EC338A18639E}"/>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6" name="Group 35">
            <a:extLst>
              <a:ext uri="{FF2B5EF4-FFF2-40B4-BE49-F238E27FC236}">
                <a16:creationId xmlns:a16="http://schemas.microsoft.com/office/drawing/2014/main" id="{CEAA3F7E-CFD2-444D-8CC0-7CD539FFE7D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7" name="Oval 5">
              <a:extLst>
                <a:ext uri="{FF2B5EF4-FFF2-40B4-BE49-F238E27FC236}">
                  <a16:creationId xmlns:a16="http://schemas.microsoft.com/office/drawing/2014/main" id="{20C46C4A-A9A1-4F52-AF81-4E39047A6D4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6">
              <a:extLst>
                <a:ext uri="{FF2B5EF4-FFF2-40B4-BE49-F238E27FC236}">
                  <a16:creationId xmlns:a16="http://schemas.microsoft.com/office/drawing/2014/main" id="{BBDADE4D-8CF4-46B3-959B-B1EC827832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7">
              <a:extLst>
                <a:ext uri="{FF2B5EF4-FFF2-40B4-BE49-F238E27FC236}">
                  <a16:creationId xmlns:a16="http://schemas.microsoft.com/office/drawing/2014/main" id="{B3C4998D-12FB-423A-8C74-50ED97B88D3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8">
              <a:extLst>
                <a:ext uri="{FF2B5EF4-FFF2-40B4-BE49-F238E27FC236}">
                  <a16:creationId xmlns:a16="http://schemas.microsoft.com/office/drawing/2014/main" id="{451DFFB4-4B0B-47DC-9A95-19086A3398E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9">
              <a:extLst>
                <a:ext uri="{FF2B5EF4-FFF2-40B4-BE49-F238E27FC236}">
                  <a16:creationId xmlns:a16="http://schemas.microsoft.com/office/drawing/2014/main" id="{859F2661-0C91-4769-94A5-417430CA72C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10">
              <a:extLst>
                <a:ext uri="{FF2B5EF4-FFF2-40B4-BE49-F238E27FC236}">
                  <a16:creationId xmlns:a16="http://schemas.microsoft.com/office/drawing/2014/main" id="{F52EF928-47FC-41EE-B994-02A0F6322C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11">
              <a:extLst>
                <a:ext uri="{FF2B5EF4-FFF2-40B4-BE49-F238E27FC236}">
                  <a16:creationId xmlns:a16="http://schemas.microsoft.com/office/drawing/2014/main" id="{4E9592A9-00B1-4043-A082-4463921271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C4443727-CE31-4B9A-9050-3F6B9A9A9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3">
              <a:extLst>
                <a:ext uri="{FF2B5EF4-FFF2-40B4-BE49-F238E27FC236}">
                  <a16:creationId xmlns:a16="http://schemas.microsoft.com/office/drawing/2014/main" id="{BFFCA952-E0CB-4D77-9154-73F24E830E6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4">
              <a:extLst>
                <a:ext uri="{FF2B5EF4-FFF2-40B4-BE49-F238E27FC236}">
                  <a16:creationId xmlns:a16="http://schemas.microsoft.com/office/drawing/2014/main" id="{581FF02B-4FF5-41E9-9C11-5EB7DB2E847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87304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3544617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428478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3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erson wearing a hat and holding his hands up&#10;&#10;Description automatically generated with medium confidence">
            <a:extLst>
              <a:ext uri="{FF2B5EF4-FFF2-40B4-BE49-F238E27FC236}">
                <a16:creationId xmlns:a16="http://schemas.microsoft.com/office/drawing/2014/main" id="{270B37A3-E850-4925-BE34-01EA130911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Placeholder 6">
            <a:extLst>
              <a:ext uri="{FF2B5EF4-FFF2-40B4-BE49-F238E27FC236}">
                <a16:creationId xmlns:a16="http://schemas.microsoft.com/office/drawing/2014/main" id="{FFF6A013-15C6-4874-A708-7605009CE381}"/>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2" name="Group 21">
            <a:extLst>
              <a:ext uri="{FF2B5EF4-FFF2-40B4-BE49-F238E27FC236}">
                <a16:creationId xmlns:a16="http://schemas.microsoft.com/office/drawing/2014/main" id="{462A0636-409D-4606-9110-51DE0980DC06}"/>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13CFFA7A-D555-4783-9FB0-0AE60E016AF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7D72B81-642C-45FE-AC86-0E5A291C9D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24EC1E07-37CD-429F-86C2-27896B6CAED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C762BE64-A018-403E-9F7C-FC5D99763FA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5BBDD2F3-7EBB-4F26-8C34-D193C27CFB0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11AEE5D0-D601-48AE-B97F-D8544C1BFDB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AA98F5E8-FA18-423A-BD67-8829031DC77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EE188487-2482-431D-9D20-3421487AAC0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4FA399E3-12D2-44B0-8BAE-AFFF32A708B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61C64AFB-44BA-436E-84DB-496A6648BE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erson wearing a hat and holding his hands up&#10;&#10;Description automatically generated with medium confidence">
            <a:extLst>
              <a:ext uri="{FF2B5EF4-FFF2-40B4-BE49-F238E27FC236}">
                <a16:creationId xmlns:a16="http://schemas.microsoft.com/office/drawing/2014/main" id="{1B235946-A20D-4AED-8E11-BBCD65D232A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13796808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70711"/>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05224097"/>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469526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82582787"/>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3498D952-DA12-419A-A139-5C5DB19AB3B0}"/>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23 Deloitte Development LLC. All rights reserved.</a:t>
            </a:r>
          </a:p>
        </p:txBody>
      </p:sp>
      <p:sp>
        <p:nvSpPr>
          <p:cNvPr id="9" name="CaseCode">
            <a:extLst>
              <a:ext uri="{FF2B5EF4-FFF2-40B4-BE49-F238E27FC236}">
                <a16:creationId xmlns:a16="http://schemas.microsoft.com/office/drawing/2014/main" id="{B2BDD876-741C-403F-89F5-BC706AFDD934}"/>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1296428604"/>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52018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13859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6353082"/>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299244"/>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6983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3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hat and holding his hands up&#10;&#10;Description automatically generated with medium confidence">
            <a:extLst>
              <a:ext uri="{FF2B5EF4-FFF2-40B4-BE49-F238E27FC236}">
                <a16:creationId xmlns:a16="http://schemas.microsoft.com/office/drawing/2014/main" id="{44906CD7-E63D-4A19-92C5-D584B5CBDE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18" descr="Shape, circle&#10;&#10;Description automatically generated">
            <a:extLst>
              <a:ext uri="{FF2B5EF4-FFF2-40B4-BE49-F238E27FC236}">
                <a16:creationId xmlns:a16="http://schemas.microsoft.com/office/drawing/2014/main" id="{5401FE9C-1BB6-487B-87F5-118BA30FC6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B3A0FB15-C90B-4A30-B2A1-6629A99A79A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FEE8728C-088A-46E6-AC9E-6E60A9564B6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F7E6D6E-7772-4CC1-B294-A87E544940D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267353DB-3039-4533-AFC8-B53E7BF03BAF}"/>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6122E34F-4EF2-48BD-B5F3-3EC70EF2AD9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78BB91A-4E11-44BC-940A-FBCFCE73C78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9E1A668D-DB1F-4CF1-BEAB-9D24A324D3CE}"/>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B3C9228-59BF-4E41-A4FD-D6ECDA14E6E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C44C8BCA-B15D-4709-ADC4-F7830DA74CB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EBD054CA-0735-427D-B960-71FCF54E7F0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3DC4BCC6-0EA8-462C-9BF6-49875E4D30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hat and holding his hands up&#10;&#10;Description automatically generated with medium confidence">
            <a:extLst>
              <a:ext uri="{FF2B5EF4-FFF2-40B4-BE49-F238E27FC236}">
                <a16:creationId xmlns:a16="http://schemas.microsoft.com/office/drawing/2014/main" id="{9DC050AC-91F6-45E1-BDAD-6352C5C9492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6454845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16368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27855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90596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1435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9902787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40643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4863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18662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78312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83704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4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9F78095-675F-4829-9EA3-5241DC7F6C1F}"/>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22" name="Picture Placeholder 6">
            <a:extLst>
              <a:ext uri="{FF2B5EF4-FFF2-40B4-BE49-F238E27FC236}">
                <a16:creationId xmlns:a16="http://schemas.microsoft.com/office/drawing/2014/main" id="{5C1E2F36-9489-4966-8AA4-8F511B5BD743}"/>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9EB190E9-DD06-4B72-9942-868FF7D747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2C1BADB8-9C56-448B-9D7E-C358F04CDB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E98D324-DCAA-4896-B216-F8D0FED634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3D0148EA-91EF-47E4-AD78-DE88F9F35F9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0F467500-885F-472A-9FAE-68AC6D3A081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7522E694-A754-413C-8EEC-7124CC145A60}"/>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8C9644C-8A2B-492F-B802-D5E93CC6D4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7786B5B0-539B-48E5-BA72-43498187C78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24AED697-FDA4-4CAB-8020-EA89F1FC2AB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6E6F538E-0BF1-4405-B5F7-1E61CF42D4C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EA3169E8-CFAC-443A-B6B3-A783057A97B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7DBDBAE7-80F9-4631-931F-C5A3A1BEE8BE}"/>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31219621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44733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0524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019830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6296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263963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998331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631088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61343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5456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650477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4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2F9CA4C-A9B3-4559-BE61-5D59E221297A}"/>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18" name="Picture 17" descr="Shape, circle&#10;&#10;Description automatically generated">
            <a:extLst>
              <a:ext uri="{FF2B5EF4-FFF2-40B4-BE49-F238E27FC236}">
                <a16:creationId xmlns:a16="http://schemas.microsoft.com/office/drawing/2014/main" id="{F4C268E1-0200-49D8-B27B-3DD227EAA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05BA6B00-1A21-46D7-838E-C4EBEFAA632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037576F6-EF2C-4D0B-ACB4-5E7C7CE39B32}"/>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86FD43D7-A0CD-47E2-BA91-D0A391B340C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B797E629-E5BC-4E92-AFCB-28008245344A}"/>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ED0ECE05-B19E-4B8C-9765-4AFA92C144A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57EE6F4F-9833-44AC-B705-82CEE45E165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AE5EDD2-D094-4DD0-B088-3D33196923C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3E615B0-78D3-46F8-9DC2-E60603F20E3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0BFD9310-15D4-48C8-893D-3921E964D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F00F771A-7EF3-45CE-94BD-E89E11CFB32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734FD33-C893-4451-A88D-FB974A18349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a:extLst>
              <a:ext uri="{FF2B5EF4-FFF2-40B4-BE49-F238E27FC236}">
                <a16:creationId xmlns:a16="http://schemas.microsoft.com/office/drawing/2014/main" id="{4FABD9FD-B7EF-4E37-AC20-5BEBACBF0720}"/>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44451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rgbClr val="000000"/>
                </a:solidFill>
                <a:latin typeface="+mj-lt"/>
              </a:defRPr>
            </a:lvl1pPr>
          </a:lstStyle>
          <a:p>
            <a:r>
              <a:rPr lang="en-US"/>
              <a:t>Click to add title</a:t>
            </a:r>
          </a:p>
        </p:txBody>
      </p:sp>
      <p:sp>
        <p:nvSpPr>
          <p:cNvPr id="4" name="CaseCode">
            <a:extLst>
              <a:ext uri="{FF2B5EF4-FFF2-40B4-BE49-F238E27FC236}">
                <a16:creationId xmlns:a16="http://schemas.microsoft.com/office/drawing/2014/main" id="{49617517-C600-4A0F-9517-C82DBD43054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000000"/>
                </a:solidFill>
                <a:latin typeface="Calibri" panose="020F0502020204030204" pitchFamily="34" charset="0"/>
                <a:cs typeface="Calibri" panose="020F0502020204030204" pitchFamily="34" charset="0"/>
              </a:rPr>
              <a:t>AI Strategic Growth Offering</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000000"/>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295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4225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24880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810591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10119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6287929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69746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7333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783368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58026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5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descr="A person wearing a garment&#10;&#10;Description automatically generated with medium confidence">
            <a:extLst>
              <a:ext uri="{FF2B5EF4-FFF2-40B4-BE49-F238E27FC236}">
                <a16:creationId xmlns:a16="http://schemas.microsoft.com/office/drawing/2014/main" id="{E4D29CE0-E717-47A6-B713-2F2FE9F8D7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Placeholder 6">
            <a:extLst>
              <a:ext uri="{FF2B5EF4-FFF2-40B4-BE49-F238E27FC236}">
                <a16:creationId xmlns:a16="http://schemas.microsoft.com/office/drawing/2014/main" id="{A816E688-C823-41BF-A1A0-D4E2856282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E499263E-17A1-43A1-96F9-AE12BB1C1FA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9F753F5E-979E-4CF6-AD92-28F7B564E10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613D1E07-FFEA-4CFC-86BB-621775EAA9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C992E3C9-6A0A-4B08-BE67-DB6249A7699B}"/>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4AF064FE-D124-4D20-85B1-47735ACAFA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0640A161-A4E1-4136-B481-D394CFD8089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422C2A5E-DF6C-4290-A6B1-9CA99E708DF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BC20701E-0190-407A-994D-A25F1AB4CF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C0917384-9FB0-48D0-B335-D774022A7B5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946EFEA2-D9A9-4C3F-8691-7375DA85617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D2278F14-A017-45B0-B6D5-A76CB07551B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C2F3013B-8FC4-457E-9D17-B6C6AA8122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3766855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166833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226931724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9B84-501D-D14F-B575-DAD161EA55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3A321D-E894-E146-B092-64BB393D8B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0DE4F2-94A3-2A47-9CE9-765931598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E38C00E-889F-3943-BB52-EC140F743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AB0CA7-4566-774C-85C1-8C92F7165509}"/>
              </a:ext>
            </a:extLst>
          </p:cNvPr>
          <p:cNvSpPr>
            <a:spLocks noGrp="1"/>
          </p:cNvSpPr>
          <p:nvPr>
            <p:ph type="sldNum" sz="quarter" idx="12"/>
          </p:nvPr>
        </p:nvSpPr>
        <p:spPr/>
        <p:txBody>
          <a:bodyPr/>
          <a:lstStyle/>
          <a:p>
            <a:fld id="{C0C8C71B-6887-D04A-9C03-EB5837F85656}" type="slidenum">
              <a:rPr lang="en-US" smtClean="0"/>
              <a:t>‹#›</a:t>
            </a:fld>
            <a:endParaRPr lang="en-US"/>
          </a:p>
        </p:txBody>
      </p:sp>
    </p:spTree>
    <p:extLst>
      <p:ext uri="{BB962C8B-B14F-4D97-AF65-F5344CB8AC3E}">
        <p14:creationId xmlns:p14="http://schemas.microsoft.com/office/powerpoint/2010/main" val="33170539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98E50-5572-0545-A049-9662C6E331AE}"/>
              </a:ext>
            </a:extLst>
          </p:cNvPr>
          <p:cNvSpPr>
            <a:spLocks noGrp="1"/>
          </p:cNvSpPr>
          <p:nvPr>
            <p:ph idx="1"/>
          </p:nvPr>
        </p:nvSpPr>
        <p:spPr>
          <a:xfrm>
            <a:off x="525878" y="1825625"/>
            <a:ext cx="1082792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87759"/>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7F9C76B3-66D9-4AAD-8732-586800291BC9}"/>
              </a:ext>
            </a:extLst>
          </p:cNvPr>
          <p:cNvSpPr>
            <a:spLocks noGrp="1"/>
          </p:cNvSpPr>
          <p:nvPr>
            <p:ph type="subTitle" idx="1"/>
          </p:nvPr>
        </p:nvSpPr>
        <p:spPr>
          <a:xfrm>
            <a:off x="1524000" y="2528607"/>
            <a:ext cx="9144000" cy="1655762"/>
          </a:xfrm>
        </p:spPr>
        <p:txBody>
          <a:bodyPr>
            <a:normAutofit/>
          </a:bodyPr>
          <a:lstStyle>
            <a:lvl1pPr marL="0" indent="0" algn="ctr">
              <a:buNone/>
              <a:defRPr sz="4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9193653"/>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858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76818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903229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8" Type="http://schemas.openxmlformats.org/officeDocument/2006/relationships/oleObject" Target="../embeddings/oleObject4.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oleObject" Target="../embeddings/oleObject3.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oleObject" Target="../embeddings/oleObject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tags" Target="../tags/tag5.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4" name="Object 3" hidden="1"/>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6" name="Title Placeholder 8">
            <a:extLst>
              <a:ext uri="{FF2B5EF4-FFF2-40B4-BE49-F238E27FC236}">
                <a16:creationId xmlns:a16="http://schemas.microsoft.com/office/drawing/2014/main" id="{3526F6F6-9D8F-4200-8D47-900EDDA3F2E5}"/>
              </a:ext>
            </a:extLst>
          </p:cNvPr>
          <p:cNvSpPr>
            <a:spLocks noGrp="1"/>
          </p:cNvSpPr>
          <p:nvPr>
            <p:ph type="title"/>
          </p:nvPr>
        </p:nvSpPr>
        <p:spPr>
          <a:xfrm>
            <a:off x="469900" y="277745"/>
            <a:ext cx="11126689" cy="400110"/>
          </a:xfrm>
          <a:prstGeom prst="rect">
            <a:avLst/>
          </a:prstGeom>
        </p:spPr>
        <p:txBody>
          <a:bodyPr vert="horz" lIns="0" tIns="45720" rIns="0" bIns="45720" rtlCol="0" anchor="t">
            <a:spAutoFit/>
          </a:bodyPr>
          <a:lstStyle/>
          <a:p>
            <a:r>
              <a:rPr lang="en-US"/>
              <a:t>Click to edit Master title style</a:t>
            </a:r>
          </a:p>
        </p:txBody>
      </p:sp>
      <p:graphicFrame>
        <p:nvGraphicFramePr>
          <p:cNvPr id="8" name="Object 7" hidden="1">
            <a:extLst>
              <a:ext uri="{FF2B5EF4-FFF2-40B4-BE49-F238E27FC236}">
                <a16:creationId xmlns:a16="http://schemas.microsoft.com/office/drawing/2014/main" id="{4DBA07B0-14CB-4A35-B061-CCD009E2866C}"/>
              </a:ext>
            </a:extLst>
          </p:cNvPr>
          <p:cNvGraphicFramePr>
            <a:graphicFrameLocks noChangeAspect="1"/>
          </p:cNvGraphicFramePr>
          <p:nvPr>
            <p:custDataLst>
              <p:tags r:id="rId5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8" name="Object 7" hidden="1">
                        <a:extLst>
                          <a:ext uri="{FF2B5EF4-FFF2-40B4-BE49-F238E27FC236}">
                            <a16:creationId xmlns:a16="http://schemas.microsoft.com/office/drawing/2014/main" id="{4DBA07B0-14CB-4A35-B061-CCD009E2866C}"/>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9" name="Copyright">
            <a:extLst>
              <a:ext uri="{FF2B5EF4-FFF2-40B4-BE49-F238E27FC236}">
                <a16:creationId xmlns:a16="http://schemas.microsoft.com/office/drawing/2014/main" id="{D1352BEA-ECD5-498E-AFDD-980BA350728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3837AE05-8593-4278-AB63-6183B16B9AF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Object 6" hidden="1">
            <a:extLst>
              <a:ext uri="{FF2B5EF4-FFF2-40B4-BE49-F238E27FC236}">
                <a16:creationId xmlns:a16="http://schemas.microsoft.com/office/drawing/2014/main" id="{B00004B9-B84B-412B-8083-FE497684DDF9}"/>
              </a:ext>
            </a:extLst>
          </p:cNvPr>
          <p:cNvGraphicFramePr>
            <a:graphicFrameLocks noChangeAspect="1"/>
          </p:cNvGraphicFramePr>
          <p:nvPr>
            <p:custDataLst>
              <p:tags r:id="rId5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7" name="Object 6" hidden="1">
                        <a:extLst>
                          <a:ext uri="{FF2B5EF4-FFF2-40B4-BE49-F238E27FC236}">
                            <a16:creationId xmlns:a16="http://schemas.microsoft.com/office/drawing/2014/main" id="{B00004B9-B84B-412B-8083-FE497684DDF9}"/>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graphicFrame>
        <p:nvGraphicFramePr>
          <p:cNvPr id="11" name="Object 10" hidden="1">
            <a:extLst>
              <a:ext uri="{FF2B5EF4-FFF2-40B4-BE49-F238E27FC236}">
                <a16:creationId xmlns:a16="http://schemas.microsoft.com/office/drawing/2014/main" id="{573153CC-6A18-41C3-85D4-622B5326B395}"/>
              </a:ext>
            </a:extLst>
          </p:cNvPr>
          <p:cNvGraphicFramePr>
            <a:graphicFrameLocks noChangeAspect="1"/>
          </p:cNvGraphicFramePr>
          <p:nvPr userDrawn="1">
            <p:custDataLst>
              <p:tags r:id="rId5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11" name="Object 10" hidden="1">
                        <a:extLst>
                          <a:ext uri="{FF2B5EF4-FFF2-40B4-BE49-F238E27FC236}">
                            <a16:creationId xmlns:a16="http://schemas.microsoft.com/office/drawing/2014/main" id="{573153CC-6A18-41C3-85D4-622B5326B395}"/>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080834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38" r:id="rId44"/>
    <p:sldLayoutId id="2147484039" r:id="rId45"/>
    <p:sldLayoutId id="2147484040" r:id="rId46"/>
    <p:sldLayoutId id="2147484041" r:id="rId47"/>
    <p:sldLayoutId id="2147484058" r:id="rId48"/>
  </p:sldLayoutIdLst>
  <p:transition>
    <p:fade/>
  </p:transition>
  <p:txStyles>
    <p:titleStyle>
      <a:lvl1pPr algn="l" defTabSz="914400" rtl="0" eaLnBrk="1" latinLnBrk="0" hangingPunct="1">
        <a:spcBef>
          <a:spcPct val="0"/>
        </a:spcBef>
        <a:buNone/>
        <a:defRPr sz="2000" b="1"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2642589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2" name="CaseCode">
            <a:extLst>
              <a:ext uri="{FF2B5EF4-FFF2-40B4-BE49-F238E27FC236}">
                <a16:creationId xmlns:a16="http://schemas.microsoft.com/office/drawing/2014/main" id="{335DA2EA-2669-4DC9-97EA-49F4C0FB8C7D}"/>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236172785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 id="2147484102" r:id="rId42"/>
    <p:sldLayoutId id="2147484103" r:id="rId43"/>
    <p:sldLayoutId id="2147484104" r:id="rId44"/>
    <p:sldLayoutId id="2147484105" r:id="rId45"/>
    <p:sldLayoutId id="2147484106" r:id="rId46"/>
    <p:sldLayoutId id="2147484107" r:id="rId47"/>
    <p:sldLayoutId id="2147484108" r:id="rId48"/>
    <p:sldLayoutId id="2147484109"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hyperlink" Target="https://zenodo.org/records/4322342#.Y8OsBdJBwU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35232A-B771-FE44-9995-40DB3226D406}"/>
              </a:ext>
            </a:extLst>
          </p:cNvPr>
          <p:cNvSpPr/>
          <p:nvPr/>
        </p:nvSpPr>
        <p:spPr>
          <a:xfrm>
            <a:off x="0" y="1998476"/>
            <a:ext cx="1614686"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C5B1E4-F4FB-8147-81A9-A5D25F98D154}"/>
              </a:ext>
            </a:extLst>
          </p:cNvPr>
          <p:cNvSpPr/>
          <p:nvPr/>
        </p:nvSpPr>
        <p:spPr>
          <a:xfrm>
            <a:off x="10655808" y="1998476"/>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4F800AC0-AEC6-C746-99E9-0DEC7AFE2FFC}"/>
              </a:ext>
            </a:extLst>
          </p:cNvPr>
          <p:cNvSpPr>
            <a:spLocks noGrp="1"/>
          </p:cNvSpPr>
          <p:nvPr>
            <p:ph type="title"/>
          </p:nvPr>
        </p:nvSpPr>
        <p:spPr/>
        <p:txBody>
          <a:bodyPr/>
          <a:lstStyle/>
          <a:p>
            <a:r>
              <a:rPr lang="en-US"/>
              <a:t>Instructions on expectations for proposal and mentor status updates </a:t>
            </a:r>
          </a:p>
        </p:txBody>
      </p:sp>
      <p:sp>
        <p:nvSpPr>
          <p:cNvPr id="3" name="Rectangle 2">
            <a:extLst>
              <a:ext uri="{FF2B5EF4-FFF2-40B4-BE49-F238E27FC236}">
                <a16:creationId xmlns:a16="http://schemas.microsoft.com/office/drawing/2014/main" id="{9F889575-3741-0A47-8B6E-C68E0882DBD5}"/>
              </a:ext>
            </a:extLst>
          </p:cNvPr>
          <p:cNvSpPr/>
          <p:nvPr/>
        </p:nvSpPr>
        <p:spPr>
          <a:xfrm>
            <a:off x="1514572" y="1998476"/>
            <a:ext cx="3209075"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367A94A-EFD4-8441-BA19-51C693C2B5DE}"/>
              </a:ext>
            </a:extLst>
          </p:cNvPr>
          <p:cNvSpPr/>
          <p:nvPr/>
        </p:nvSpPr>
        <p:spPr>
          <a:xfrm>
            <a:off x="1514572" y="953331"/>
            <a:ext cx="9499314" cy="2121710"/>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EFD6EE5-2580-FD44-BEC1-C96C2F3BE1A2}"/>
              </a:ext>
            </a:extLst>
          </p:cNvPr>
          <p:cNvSpPr txBox="1"/>
          <p:nvPr/>
        </p:nvSpPr>
        <p:spPr>
          <a:xfrm>
            <a:off x="2113279" y="2366406"/>
            <a:ext cx="1851171" cy="90287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efore Proposal Due Date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ch 15 – April12</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D3385FFD-4FAF-3546-A1F9-6C687FB362A8}"/>
              </a:ext>
            </a:extLst>
          </p:cNvPr>
          <p:cNvSpPr/>
          <p:nvPr/>
        </p:nvSpPr>
        <p:spPr>
          <a:xfrm>
            <a:off x="1514572" y="3480272"/>
            <a:ext cx="3108959" cy="3009018"/>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apstone team is required to have a meeting with VT Advisor. VT advisors will attend 2</a:t>
            </a:r>
            <a:r>
              <a:rPr kumimoji="0" lang="en-US" sz="1100" b="0" i="0" u="none" strike="noStrike" kern="1200" cap="none" spc="0" normalizeH="0" baseline="3000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nd</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hour of Virginia Tech session in Week 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iew your </a:t>
            </a: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T advisor information </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in the program Roster (US AI Academy Program &gt; D4 – February 12, 2024 Cohort &gt; Files &gt; Agenda &amp; Roster &gt; FY24D4 Roster)</a:t>
            </a:r>
          </a:p>
        </p:txBody>
      </p:sp>
      <p:sp>
        <p:nvSpPr>
          <p:cNvPr id="23" name="Arrow: Down 24">
            <a:extLst>
              <a:ext uri="{FF2B5EF4-FFF2-40B4-BE49-F238E27FC236}">
                <a16:creationId xmlns:a16="http://schemas.microsoft.com/office/drawing/2014/main" id="{B88DDF02-F902-744F-AF84-A47F24B0A65F}"/>
              </a:ext>
            </a:extLst>
          </p:cNvPr>
          <p:cNvSpPr>
            <a:spLocks noChangeAspect="1"/>
          </p:cNvSpPr>
          <p:nvPr/>
        </p:nvSpPr>
        <p:spPr>
          <a:xfrm>
            <a:off x="2854460" y="3078975"/>
            <a:ext cx="368808" cy="365760"/>
          </a:xfrm>
          <a:prstGeom prst="downArrow">
            <a:avLst/>
          </a:prstGeom>
          <a:pattFill prst="dkUpDiag">
            <a:fgClr>
              <a:schemeClr val="accent1"/>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mn-ea"/>
              <a:cs typeface="+mn-cs"/>
            </a:endParaRPr>
          </a:p>
        </p:txBody>
      </p:sp>
      <p:grpSp>
        <p:nvGrpSpPr>
          <p:cNvPr id="51" name="Graphic 4">
            <a:extLst>
              <a:ext uri="{FF2B5EF4-FFF2-40B4-BE49-F238E27FC236}">
                <a16:creationId xmlns:a16="http://schemas.microsoft.com/office/drawing/2014/main" id="{5C738413-6801-4C4E-A6C5-09C28ED60239}"/>
              </a:ext>
            </a:extLst>
          </p:cNvPr>
          <p:cNvGrpSpPr/>
          <p:nvPr/>
        </p:nvGrpSpPr>
        <p:grpSpPr>
          <a:xfrm>
            <a:off x="2797748" y="1356710"/>
            <a:ext cx="482233" cy="481784"/>
            <a:chOff x="6146480" y="2855717"/>
            <a:chExt cx="362309" cy="361971"/>
          </a:xfrm>
          <a:solidFill>
            <a:schemeClr val="accent1"/>
          </a:solidFill>
        </p:grpSpPr>
        <p:sp>
          <p:nvSpPr>
            <p:cNvPr id="52" name="Graphic 4">
              <a:extLst>
                <a:ext uri="{FF2B5EF4-FFF2-40B4-BE49-F238E27FC236}">
                  <a16:creationId xmlns:a16="http://schemas.microsoft.com/office/drawing/2014/main" id="{5D19A831-7A84-C54D-9548-C7CE4DCC82D1}"/>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Graphic 4">
              <a:extLst>
                <a:ext uri="{FF2B5EF4-FFF2-40B4-BE49-F238E27FC236}">
                  <a16:creationId xmlns:a16="http://schemas.microsoft.com/office/drawing/2014/main" id="{707D0DD8-395B-8C4E-99C8-92DC7D2D2DF4}"/>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Graphic 4">
              <a:extLst>
                <a:ext uri="{FF2B5EF4-FFF2-40B4-BE49-F238E27FC236}">
                  <a16:creationId xmlns:a16="http://schemas.microsoft.com/office/drawing/2014/main" id="{4426623D-2452-6147-8C49-BAEAF707EB5E}"/>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Graphic 4">
              <a:extLst>
                <a:ext uri="{FF2B5EF4-FFF2-40B4-BE49-F238E27FC236}">
                  <a16:creationId xmlns:a16="http://schemas.microsoft.com/office/drawing/2014/main" id="{AEC95FA5-1011-5247-BA82-91BF469AB1CC}"/>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1">
            <a:extLst>
              <a:ext uri="{FF2B5EF4-FFF2-40B4-BE49-F238E27FC236}">
                <a16:creationId xmlns:a16="http://schemas.microsoft.com/office/drawing/2014/main" id="{D862BBDA-C2D3-B649-9946-69EECEC506C0}"/>
              </a:ext>
            </a:extLst>
          </p:cNvPr>
          <p:cNvSpPr txBox="1"/>
          <p:nvPr/>
        </p:nvSpPr>
        <p:spPr>
          <a:xfrm>
            <a:off x="5480517" y="2366406"/>
            <a:ext cx="1507049" cy="674480"/>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sal Submis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ue April 12 </a:t>
            </a:r>
          </a:p>
        </p:txBody>
      </p:sp>
      <p:sp>
        <p:nvSpPr>
          <p:cNvPr id="20" name="Rectangle 19">
            <a:extLst>
              <a:ext uri="{FF2B5EF4-FFF2-40B4-BE49-F238E27FC236}">
                <a16:creationId xmlns:a16="http://schemas.microsoft.com/office/drawing/2014/main" id="{FE40F090-1D31-B847-AE1C-91ADBC007ED7}"/>
              </a:ext>
            </a:extLst>
          </p:cNvPr>
          <p:cNvSpPr/>
          <p:nvPr/>
        </p:nvSpPr>
        <p:spPr>
          <a:xfrm>
            <a:off x="4709750" y="3480272"/>
            <a:ext cx="3108959" cy="3009018"/>
          </a:xfrm>
          <a:prstGeom prst="rect">
            <a:avLst/>
          </a:prstGeom>
          <a:solidFill>
            <a:srgbClr val="009A4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oposal should take approximately 1 hour to complet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omplete and submit Capstone Proposal Template Slide (slide 2) and Project timeline slide (slide 3)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slides: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Ext-AI Academy Virginia Tech (Microsoft Teams Channel) </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nder FY24 D4 &gt; Files &gt; Capstone Proposals &gt; Group # &gt;save file here</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GitHub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reate a </a:t>
            </a:r>
            <a:r>
              <a:rPr kumimoji="0" lang="en-US" sz="105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t</a:t>
            </a: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Add Flatiron Instructor, Deloitte Mentor and VT Advisor to as collaborators</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proposal deck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endParaRPr kumimoji="0" lang="en-US" sz="12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row: Down 25">
            <a:extLst>
              <a:ext uri="{FF2B5EF4-FFF2-40B4-BE49-F238E27FC236}">
                <a16:creationId xmlns:a16="http://schemas.microsoft.com/office/drawing/2014/main" id="{05FFBE7C-3B2C-F241-89D6-612C14DA77DE}"/>
              </a:ext>
            </a:extLst>
          </p:cNvPr>
          <p:cNvSpPr>
            <a:spLocks noChangeAspect="1"/>
          </p:cNvSpPr>
          <p:nvPr/>
        </p:nvSpPr>
        <p:spPr>
          <a:xfrm>
            <a:off x="6049637" y="3078975"/>
            <a:ext cx="368808" cy="365760"/>
          </a:xfrm>
          <a:prstGeom prst="downArrow">
            <a:avLst/>
          </a:prstGeom>
          <a:pattFill prst="dkDnDiag">
            <a:fgClr>
              <a:srgbClr val="009A4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56" name="Graphic 4">
            <a:extLst>
              <a:ext uri="{FF2B5EF4-FFF2-40B4-BE49-F238E27FC236}">
                <a16:creationId xmlns:a16="http://schemas.microsoft.com/office/drawing/2014/main" id="{5F7EB85F-642C-BA47-8047-4DBDFD029783}"/>
              </a:ext>
            </a:extLst>
          </p:cNvPr>
          <p:cNvGrpSpPr/>
          <p:nvPr/>
        </p:nvGrpSpPr>
        <p:grpSpPr>
          <a:xfrm>
            <a:off x="5992922" y="1356710"/>
            <a:ext cx="482238" cy="481784"/>
            <a:chOff x="1952125" y="1402723"/>
            <a:chExt cx="362313" cy="361971"/>
          </a:xfrm>
          <a:solidFill>
            <a:srgbClr val="009A44"/>
          </a:solidFill>
        </p:grpSpPr>
        <p:sp>
          <p:nvSpPr>
            <p:cNvPr id="57" name="Graphic 4">
              <a:extLst>
                <a:ext uri="{FF2B5EF4-FFF2-40B4-BE49-F238E27FC236}">
                  <a16:creationId xmlns:a16="http://schemas.microsoft.com/office/drawing/2014/main" id="{4AA38275-72D0-6346-A1B1-293FCF21366C}"/>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Graphic 4">
              <a:extLst>
                <a:ext uri="{FF2B5EF4-FFF2-40B4-BE49-F238E27FC236}">
                  <a16:creationId xmlns:a16="http://schemas.microsoft.com/office/drawing/2014/main" id="{416AF749-9F1F-B742-9C8E-7BBDB3D6F9FC}"/>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Graphic 4">
              <a:extLst>
                <a:ext uri="{FF2B5EF4-FFF2-40B4-BE49-F238E27FC236}">
                  <a16:creationId xmlns:a16="http://schemas.microsoft.com/office/drawing/2014/main" id="{901CCBFD-7629-E248-A02C-09022B439DAC}"/>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Graphic 4">
              <a:extLst>
                <a:ext uri="{FF2B5EF4-FFF2-40B4-BE49-F238E27FC236}">
                  <a16:creationId xmlns:a16="http://schemas.microsoft.com/office/drawing/2014/main" id="{053A214B-78C0-5445-ADB5-C8A1025EB1EC}"/>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Graphic 4">
              <a:extLst>
                <a:ext uri="{FF2B5EF4-FFF2-40B4-BE49-F238E27FC236}">
                  <a16:creationId xmlns:a16="http://schemas.microsoft.com/office/drawing/2014/main" id="{C7BA2E96-35F0-AB4A-88FE-FB7D87869C0D}"/>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5A2CF10A-31A9-A64D-A1BB-A1AF58BCAA28}"/>
              </a:ext>
            </a:extLst>
          </p:cNvPr>
          <p:cNvSpPr txBox="1"/>
          <p:nvPr/>
        </p:nvSpPr>
        <p:spPr>
          <a:xfrm>
            <a:off x="8424538" y="2366406"/>
            <a:ext cx="2009362" cy="44608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tatus Updates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ril 5, May 3 &amp; May 17</a:t>
            </a:r>
          </a:p>
        </p:txBody>
      </p:sp>
      <p:sp>
        <p:nvSpPr>
          <p:cNvPr id="22" name="Rectangle 21">
            <a:extLst>
              <a:ext uri="{FF2B5EF4-FFF2-40B4-BE49-F238E27FC236}">
                <a16:creationId xmlns:a16="http://schemas.microsoft.com/office/drawing/2014/main" id="{AF825DFA-0B1D-514E-821F-B8FB7DBB549C}"/>
              </a:ext>
            </a:extLst>
          </p:cNvPr>
          <p:cNvSpPr/>
          <p:nvPr/>
        </p:nvSpPr>
        <p:spPr>
          <a:xfrm>
            <a:off x="7832286" y="3490227"/>
            <a:ext cx="3177197" cy="3009018"/>
          </a:xfrm>
          <a:prstGeom prst="rect">
            <a:avLst/>
          </a:prstGeom>
          <a:solidFill>
            <a:srgbClr val="6FC2B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Capstone Proposal Template Slide (slide 2) and Project timeline slide (slide 3)</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Status Update slide (slide 4) with current information</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ubmit Slides to </a:t>
            </a:r>
            <a:r>
              <a:rPr kumimoji="0" lang="en-US" sz="110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b</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before each status update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 to Deloitte mentor as a team at each status update. Presentation should mimic updating a client on a project.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ation should include 3 slides:</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1 is before proposal is due. Capstone Proposal Template does not need to be finalized</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2 should address feedback from VT Advisor and Flatiron School Instructor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3 should include plans through final project </a:t>
            </a:r>
          </a:p>
        </p:txBody>
      </p:sp>
      <p:sp>
        <p:nvSpPr>
          <p:cNvPr id="25" name="Arrow: Down 26">
            <a:extLst>
              <a:ext uri="{FF2B5EF4-FFF2-40B4-BE49-F238E27FC236}">
                <a16:creationId xmlns:a16="http://schemas.microsoft.com/office/drawing/2014/main" id="{1BF7B0EE-8F39-B04A-8ED7-903B36953931}"/>
              </a:ext>
            </a:extLst>
          </p:cNvPr>
          <p:cNvSpPr>
            <a:spLocks noChangeAspect="1"/>
          </p:cNvSpPr>
          <p:nvPr/>
        </p:nvSpPr>
        <p:spPr>
          <a:xfrm>
            <a:off x="9243491" y="3078975"/>
            <a:ext cx="368808" cy="365760"/>
          </a:xfrm>
          <a:prstGeom prst="downArrow">
            <a:avLst/>
          </a:prstGeom>
          <a:pattFill prst="dkUpDiag">
            <a:fgClr>
              <a:srgbClr val="6FC2B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70" name="Graphic 4">
            <a:extLst>
              <a:ext uri="{FF2B5EF4-FFF2-40B4-BE49-F238E27FC236}">
                <a16:creationId xmlns:a16="http://schemas.microsoft.com/office/drawing/2014/main" id="{E379D9D5-E47D-B546-A253-EB42DC53E3CD}"/>
              </a:ext>
            </a:extLst>
          </p:cNvPr>
          <p:cNvGrpSpPr/>
          <p:nvPr/>
        </p:nvGrpSpPr>
        <p:grpSpPr>
          <a:xfrm>
            <a:off x="9188103" y="1356710"/>
            <a:ext cx="482233" cy="481784"/>
            <a:chOff x="905454" y="4793256"/>
            <a:chExt cx="362309" cy="361971"/>
          </a:xfrm>
          <a:solidFill>
            <a:srgbClr val="6FC2B4"/>
          </a:solidFill>
        </p:grpSpPr>
        <p:sp>
          <p:nvSpPr>
            <p:cNvPr id="71" name="Graphic 4">
              <a:extLst>
                <a:ext uri="{FF2B5EF4-FFF2-40B4-BE49-F238E27FC236}">
                  <a16:creationId xmlns:a16="http://schemas.microsoft.com/office/drawing/2014/main" id="{BD0E0F23-420E-2F42-BD76-F32E3D4B19D9}"/>
                </a:ext>
              </a:extLst>
            </p:cNvPr>
            <p:cNvSpPr/>
            <p:nvPr/>
          </p:nvSpPr>
          <p:spPr>
            <a:xfrm>
              <a:off x="1023028" y="491902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105434 w 118852"/>
                <a:gd name="connsiteY4" fmla="*/ 22344 h 118741"/>
                <a:gd name="connsiteX5" fmla="*/ 91376 w 118852"/>
                <a:gd name="connsiteY5" fmla="*/ 36388 h 118741"/>
                <a:gd name="connsiteX6" fmla="*/ 82430 w 118852"/>
                <a:gd name="connsiteY6" fmla="*/ 91291 h 118741"/>
                <a:gd name="connsiteX7" fmla="*/ 27477 w 118852"/>
                <a:gd name="connsiteY7" fmla="*/ 82353 h 118741"/>
                <a:gd name="connsiteX8" fmla="*/ 36423 w 118852"/>
                <a:gd name="connsiteY8" fmla="*/ 27451 h 118741"/>
                <a:gd name="connsiteX9" fmla="*/ 82430 w 118852"/>
                <a:gd name="connsiteY9" fmla="*/ 27451 h 118741"/>
                <a:gd name="connsiteX10" fmla="*/ 96488 w 118852"/>
                <a:gd name="connsiteY10" fmla="*/ 13406 h 118741"/>
                <a:gd name="connsiteX11" fmla="*/ 59426 w 118852"/>
                <a:gd name="connsiteY11" fmla="*/ 0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852" h="118741">
                  <a:moveTo>
                    <a:pt x="59426" y="0"/>
                  </a:moveTo>
                  <a:cubicBezTo>
                    <a:pt x="26838" y="0"/>
                    <a:pt x="0" y="26174"/>
                    <a:pt x="0" y="59371"/>
                  </a:cubicBezTo>
                  <a:cubicBezTo>
                    <a:pt x="0" y="91929"/>
                    <a:pt x="26199" y="118742"/>
                    <a:pt x="59426" y="118742"/>
                  </a:cubicBezTo>
                  <a:cubicBezTo>
                    <a:pt x="92015" y="118742"/>
                    <a:pt x="118853" y="92568"/>
                    <a:pt x="118853" y="59371"/>
                  </a:cubicBezTo>
                  <a:cubicBezTo>
                    <a:pt x="118853" y="45964"/>
                    <a:pt x="114380" y="32558"/>
                    <a:pt x="105434" y="22344"/>
                  </a:cubicBezTo>
                  <a:lnTo>
                    <a:pt x="91376" y="36388"/>
                  </a:lnTo>
                  <a:cubicBezTo>
                    <a:pt x="104156" y="54264"/>
                    <a:pt x="100322" y="78523"/>
                    <a:pt x="82430" y="91291"/>
                  </a:cubicBezTo>
                  <a:cubicBezTo>
                    <a:pt x="64538" y="104059"/>
                    <a:pt x="40257" y="100228"/>
                    <a:pt x="27477" y="82353"/>
                  </a:cubicBezTo>
                  <a:cubicBezTo>
                    <a:pt x="14697" y="64478"/>
                    <a:pt x="18531" y="40219"/>
                    <a:pt x="36423" y="27451"/>
                  </a:cubicBezTo>
                  <a:cubicBezTo>
                    <a:pt x="50480" y="17236"/>
                    <a:pt x="69011" y="17236"/>
                    <a:pt x="82430" y="27451"/>
                  </a:cubicBezTo>
                  <a:lnTo>
                    <a:pt x="96488" y="13406"/>
                  </a:lnTo>
                  <a:cubicBezTo>
                    <a:pt x="86264" y="4468"/>
                    <a:pt x="72845" y="0"/>
                    <a:pt x="594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5851B562-1D34-A64D-8D58-539FFD550F32}"/>
                </a:ext>
              </a:extLst>
            </p:cNvPr>
            <p:cNvSpPr/>
            <p:nvPr/>
          </p:nvSpPr>
          <p:spPr>
            <a:xfrm>
              <a:off x="1055664" y="4951626"/>
              <a:ext cx="52989" cy="52893"/>
            </a:xfrm>
            <a:custGeom>
              <a:avLst/>
              <a:gdLst>
                <a:gd name="connsiteX0" fmla="*/ 26791 w 52989"/>
                <a:gd name="connsiteY0" fmla="*/ 32511 h 52893"/>
                <a:gd name="connsiteX1" fmla="*/ 20401 w 52989"/>
                <a:gd name="connsiteY1" fmla="*/ 26127 h 52893"/>
                <a:gd name="connsiteX2" fmla="*/ 22318 w 52989"/>
                <a:gd name="connsiteY2" fmla="*/ 21659 h 52893"/>
                <a:gd name="connsiteX3" fmla="*/ 40210 w 52989"/>
                <a:gd name="connsiteY3" fmla="*/ 3783 h 52893"/>
                <a:gd name="connsiteX4" fmla="*/ 3787 w 52989"/>
                <a:gd name="connsiteY4" fmla="*/ 12721 h 52893"/>
                <a:gd name="connsiteX5" fmla="*/ 12733 w 52989"/>
                <a:gd name="connsiteY5" fmla="*/ 49110 h 52893"/>
                <a:gd name="connsiteX6" fmla="*/ 49155 w 52989"/>
                <a:gd name="connsiteY6" fmla="*/ 40172 h 52893"/>
                <a:gd name="connsiteX7" fmla="*/ 49155 w 52989"/>
                <a:gd name="connsiteY7" fmla="*/ 12721 h 52893"/>
                <a:gd name="connsiteX8" fmla="*/ 31264 w 52989"/>
                <a:gd name="connsiteY8" fmla="*/ 30596 h 52893"/>
                <a:gd name="connsiteX9" fmla="*/ 26791 w 52989"/>
                <a:gd name="connsiteY9" fmla="*/ 32511 h 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89" h="52893">
                  <a:moveTo>
                    <a:pt x="26791" y="32511"/>
                  </a:moveTo>
                  <a:cubicBezTo>
                    <a:pt x="22957" y="32511"/>
                    <a:pt x="20401" y="29958"/>
                    <a:pt x="20401" y="26127"/>
                  </a:cubicBezTo>
                  <a:cubicBezTo>
                    <a:pt x="20401" y="24212"/>
                    <a:pt x="21040" y="22935"/>
                    <a:pt x="22318" y="21659"/>
                  </a:cubicBezTo>
                  <a:lnTo>
                    <a:pt x="40210" y="3783"/>
                  </a:lnTo>
                  <a:cubicBezTo>
                    <a:pt x="27430" y="-3877"/>
                    <a:pt x="11455" y="591"/>
                    <a:pt x="3787" y="12721"/>
                  </a:cubicBezTo>
                  <a:cubicBezTo>
                    <a:pt x="-3881" y="24851"/>
                    <a:pt x="592" y="41449"/>
                    <a:pt x="12733" y="49110"/>
                  </a:cubicBezTo>
                  <a:cubicBezTo>
                    <a:pt x="25513" y="56771"/>
                    <a:pt x="41488" y="52302"/>
                    <a:pt x="49155" y="40172"/>
                  </a:cubicBezTo>
                  <a:cubicBezTo>
                    <a:pt x="54267" y="31873"/>
                    <a:pt x="54267" y="21020"/>
                    <a:pt x="49155" y="12721"/>
                  </a:cubicBezTo>
                  <a:lnTo>
                    <a:pt x="31264" y="30596"/>
                  </a:lnTo>
                  <a:cubicBezTo>
                    <a:pt x="29986" y="31873"/>
                    <a:pt x="28708" y="32511"/>
                    <a:pt x="26791" y="3251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4301606F-CAC4-AA46-BA23-640048F13152}"/>
                </a:ext>
              </a:extLst>
            </p:cNvPr>
            <p:cNvSpPr/>
            <p:nvPr/>
          </p:nvSpPr>
          <p:spPr>
            <a:xfrm>
              <a:off x="990865" y="4886249"/>
              <a:ext cx="183764" cy="183647"/>
            </a:xfrm>
            <a:custGeom>
              <a:avLst/>
              <a:gdLst>
                <a:gd name="connsiteX0" fmla="*/ 163796 w 183764"/>
                <a:gd name="connsiteY0" fmla="*/ 91504 h 183647"/>
                <a:gd name="connsiteX1" fmla="*/ 91590 w 183764"/>
                <a:gd name="connsiteY1" fmla="*/ 163644 h 183647"/>
                <a:gd name="connsiteX2" fmla="*/ 19384 w 183764"/>
                <a:gd name="connsiteY2" fmla="*/ 91504 h 183647"/>
                <a:gd name="connsiteX3" fmla="*/ 91590 w 183764"/>
                <a:gd name="connsiteY3" fmla="*/ 19365 h 183647"/>
                <a:gd name="connsiteX4" fmla="*/ 138236 w 183764"/>
                <a:gd name="connsiteY4" fmla="*/ 36602 h 183647"/>
                <a:gd name="connsiteX5" fmla="*/ 152294 w 183764"/>
                <a:gd name="connsiteY5" fmla="*/ 22557 h 183647"/>
                <a:gd name="connsiteX6" fmla="*/ 22579 w 183764"/>
                <a:gd name="connsiteY6" fmla="*/ 31495 h 183647"/>
                <a:gd name="connsiteX7" fmla="*/ 31524 w 183764"/>
                <a:gd name="connsiteY7" fmla="*/ 161090 h 183647"/>
                <a:gd name="connsiteX8" fmla="*/ 161240 w 183764"/>
                <a:gd name="connsiteY8" fmla="*/ 152152 h 183647"/>
                <a:gd name="connsiteX9" fmla="*/ 161240 w 183764"/>
                <a:gd name="connsiteY9" fmla="*/ 31495 h 183647"/>
                <a:gd name="connsiteX10" fmla="*/ 146543 w 183764"/>
                <a:gd name="connsiteY10" fmla="*/ 45540 h 183647"/>
                <a:gd name="connsiteX11" fmla="*/ 163796 w 183764"/>
                <a:gd name="connsiteY11" fmla="*/ 91504 h 18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764" h="183647">
                  <a:moveTo>
                    <a:pt x="163796" y="91504"/>
                  </a:moveTo>
                  <a:cubicBezTo>
                    <a:pt x="163796" y="131085"/>
                    <a:pt x="131207" y="163644"/>
                    <a:pt x="91590" y="163644"/>
                  </a:cubicBezTo>
                  <a:cubicBezTo>
                    <a:pt x="51972" y="163644"/>
                    <a:pt x="19384" y="131085"/>
                    <a:pt x="19384" y="91504"/>
                  </a:cubicBezTo>
                  <a:cubicBezTo>
                    <a:pt x="19384" y="51924"/>
                    <a:pt x="51972" y="19365"/>
                    <a:pt x="91590" y="19365"/>
                  </a:cubicBezTo>
                  <a:cubicBezTo>
                    <a:pt x="108843" y="19365"/>
                    <a:pt x="125456" y="25111"/>
                    <a:pt x="138236" y="36602"/>
                  </a:cubicBezTo>
                  <a:lnTo>
                    <a:pt x="152294" y="22557"/>
                  </a:lnTo>
                  <a:cubicBezTo>
                    <a:pt x="113955" y="-10639"/>
                    <a:pt x="55806" y="-6809"/>
                    <a:pt x="22579" y="31495"/>
                  </a:cubicBezTo>
                  <a:cubicBezTo>
                    <a:pt x="-10649" y="69799"/>
                    <a:pt x="-6815" y="127893"/>
                    <a:pt x="31524" y="161090"/>
                  </a:cubicBezTo>
                  <a:cubicBezTo>
                    <a:pt x="69864" y="194287"/>
                    <a:pt x="128013" y="190456"/>
                    <a:pt x="161240" y="152152"/>
                  </a:cubicBezTo>
                  <a:cubicBezTo>
                    <a:pt x="191273" y="117679"/>
                    <a:pt x="191273" y="65968"/>
                    <a:pt x="161240" y="31495"/>
                  </a:cubicBezTo>
                  <a:lnTo>
                    <a:pt x="146543" y="45540"/>
                  </a:lnTo>
                  <a:cubicBezTo>
                    <a:pt x="157406" y="58308"/>
                    <a:pt x="163796" y="74906"/>
                    <a:pt x="163796" y="915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F1BD3AC1-AC58-B040-860A-18A9D18665A6}"/>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3074 w 362309"/>
                <a:gd name="connsiteY6" fmla="*/ 109166 h 361971"/>
                <a:gd name="connsiteX7" fmla="*/ 261348 w 362309"/>
                <a:gd name="connsiteY7" fmla="*/ 109166 h 361971"/>
                <a:gd name="connsiteX8" fmla="*/ 254959 w 362309"/>
                <a:gd name="connsiteY8" fmla="*/ 115550 h 361971"/>
                <a:gd name="connsiteX9" fmla="*/ 246652 w 362309"/>
                <a:gd name="connsiteY9" fmla="*/ 262382 h 361971"/>
                <a:gd name="connsiteX10" fmla="*/ 263265 w 362309"/>
                <a:gd name="connsiteY10" fmla="*/ 278341 h 361971"/>
                <a:gd name="connsiteX11" fmla="*/ 263265 w 362309"/>
                <a:gd name="connsiteY11" fmla="*/ 287279 h 361971"/>
                <a:gd name="connsiteX12" fmla="*/ 263265 w 362309"/>
                <a:gd name="connsiteY12" fmla="*/ 287279 h 361971"/>
                <a:gd name="connsiteX13" fmla="*/ 254320 w 362309"/>
                <a:gd name="connsiteY13" fmla="*/ 287279 h 361971"/>
                <a:gd name="connsiteX14" fmla="*/ 254320 w 362309"/>
                <a:gd name="connsiteY14" fmla="*/ 287279 h 361971"/>
                <a:gd name="connsiteX15" fmla="*/ 238984 w 362309"/>
                <a:gd name="connsiteY15" fmla="*/ 270681 h 361971"/>
                <a:gd name="connsiteX16" fmla="*/ 238345 w 362309"/>
                <a:gd name="connsiteY16" fmla="*/ 269404 h 361971"/>
                <a:gd name="connsiteX17" fmla="*/ 117575 w 362309"/>
                <a:gd name="connsiteY17" fmla="*/ 269404 h 361971"/>
                <a:gd name="connsiteX18" fmla="*/ 116936 w 362309"/>
                <a:gd name="connsiteY18" fmla="*/ 270681 h 361971"/>
                <a:gd name="connsiteX19" fmla="*/ 100322 w 362309"/>
                <a:gd name="connsiteY19" fmla="*/ 287279 h 361971"/>
                <a:gd name="connsiteX20" fmla="*/ 95849 w 362309"/>
                <a:gd name="connsiteY20" fmla="*/ 289194 h 361971"/>
                <a:gd name="connsiteX21" fmla="*/ 91376 w 362309"/>
                <a:gd name="connsiteY21" fmla="*/ 287279 h 361971"/>
                <a:gd name="connsiteX22" fmla="*/ 91376 w 362309"/>
                <a:gd name="connsiteY22" fmla="*/ 278341 h 361971"/>
                <a:gd name="connsiteX23" fmla="*/ 91376 w 362309"/>
                <a:gd name="connsiteY23" fmla="*/ 278341 h 361971"/>
                <a:gd name="connsiteX24" fmla="*/ 107990 w 362309"/>
                <a:gd name="connsiteY24" fmla="*/ 262382 h 361971"/>
                <a:gd name="connsiteX25" fmla="*/ 100961 w 362309"/>
                <a:gd name="connsiteY25" fmla="*/ 114912 h 361971"/>
                <a:gd name="connsiteX26" fmla="*/ 247291 w 362309"/>
                <a:gd name="connsiteY26" fmla="*/ 106613 h 361971"/>
                <a:gd name="connsiteX27" fmla="*/ 253680 w 362309"/>
                <a:gd name="connsiteY27" fmla="*/ 100229 h 361971"/>
                <a:gd name="connsiteX28" fmla="*/ 253680 w 362309"/>
                <a:gd name="connsiteY28" fmla="*/ 78523 h 361971"/>
                <a:gd name="connsiteX29" fmla="*/ 260070 w 362309"/>
                <a:gd name="connsiteY29" fmla="*/ 72139 h 361971"/>
                <a:gd name="connsiteX30" fmla="*/ 266460 w 362309"/>
                <a:gd name="connsiteY30" fmla="*/ 78523 h 361971"/>
                <a:gd name="connsiteX31" fmla="*/ 266460 w 362309"/>
                <a:gd name="connsiteY31" fmla="*/ 96398 h 361971"/>
                <a:gd name="connsiteX32" fmla="*/ 284991 w 362309"/>
                <a:gd name="connsiteY32" fmla="*/ 96398 h 361971"/>
                <a:gd name="connsiteX33" fmla="*/ 291381 w 362309"/>
                <a:gd name="connsiteY33" fmla="*/ 102782 h 361971"/>
                <a:gd name="connsiteX34" fmla="*/ 284991 w 362309"/>
                <a:gd name="connsiteY34" fmla="*/ 109166 h 361971"/>
                <a:gd name="connsiteX35" fmla="*/ 283074 w 362309"/>
                <a:gd name="connsiteY35" fmla="*/ 10916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83074" y="109166"/>
                  </a:moveTo>
                  <a:lnTo>
                    <a:pt x="261348" y="109166"/>
                  </a:lnTo>
                  <a:lnTo>
                    <a:pt x="254959" y="115550"/>
                  </a:lnTo>
                  <a:cubicBezTo>
                    <a:pt x="293298" y="158323"/>
                    <a:pt x="289464" y="224078"/>
                    <a:pt x="246652" y="262382"/>
                  </a:cubicBezTo>
                  <a:lnTo>
                    <a:pt x="263265" y="278341"/>
                  </a:lnTo>
                  <a:cubicBezTo>
                    <a:pt x="265821" y="280895"/>
                    <a:pt x="265821" y="284725"/>
                    <a:pt x="263265" y="287279"/>
                  </a:cubicBezTo>
                  <a:cubicBezTo>
                    <a:pt x="263265" y="287279"/>
                    <a:pt x="263265" y="287279"/>
                    <a:pt x="263265" y="287279"/>
                  </a:cubicBezTo>
                  <a:cubicBezTo>
                    <a:pt x="260709" y="289833"/>
                    <a:pt x="256875" y="289833"/>
                    <a:pt x="254320" y="287279"/>
                  </a:cubicBezTo>
                  <a:cubicBezTo>
                    <a:pt x="254320" y="287279"/>
                    <a:pt x="254320" y="287279"/>
                    <a:pt x="254320" y="287279"/>
                  </a:cubicBezTo>
                  <a:lnTo>
                    <a:pt x="238984" y="270681"/>
                  </a:lnTo>
                  <a:cubicBezTo>
                    <a:pt x="238984" y="270681"/>
                    <a:pt x="238345" y="270042"/>
                    <a:pt x="238345" y="269404"/>
                  </a:cubicBezTo>
                  <a:cubicBezTo>
                    <a:pt x="202561" y="294940"/>
                    <a:pt x="153998" y="294940"/>
                    <a:pt x="117575" y="269404"/>
                  </a:cubicBezTo>
                  <a:cubicBezTo>
                    <a:pt x="117575" y="270042"/>
                    <a:pt x="116936" y="270042"/>
                    <a:pt x="116936" y="270681"/>
                  </a:cubicBezTo>
                  <a:lnTo>
                    <a:pt x="100322" y="287279"/>
                  </a:lnTo>
                  <a:cubicBezTo>
                    <a:pt x="99044" y="288556"/>
                    <a:pt x="97766" y="289194"/>
                    <a:pt x="95849" y="289194"/>
                  </a:cubicBezTo>
                  <a:cubicBezTo>
                    <a:pt x="93932" y="289194"/>
                    <a:pt x="92654" y="288556"/>
                    <a:pt x="91376" y="287279"/>
                  </a:cubicBezTo>
                  <a:cubicBezTo>
                    <a:pt x="88820" y="284725"/>
                    <a:pt x="88820" y="280895"/>
                    <a:pt x="91376" y="278341"/>
                  </a:cubicBezTo>
                  <a:cubicBezTo>
                    <a:pt x="91376" y="278341"/>
                    <a:pt x="91376" y="278341"/>
                    <a:pt x="91376" y="278341"/>
                  </a:cubicBezTo>
                  <a:lnTo>
                    <a:pt x="107990" y="262382"/>
                  </a:lnTo>
                  <a:cubicBezTo>
                    <a:pt x="65177" y="223439"/>
                    <a:pt x="62621" y="157684"/>
                    <a:pt x="100961" y="114912"/>
                  </a:cubicBezTo>
                  <a:cubicBezTo>
                    <a:pt x="139301" y="72777"/>
                    <a:pt x="204478" y="69585"/>
                    <a:pt x="247291" y="106613"/>
                  </a:cubicBezTo>
                  <a:lnTo>
                    <a:pt x="253680" y="100229"/>
                  </a:lnTo>
                  <a:lnTo>
                    <a:pt x="253680" y="78523"/>
                  </a:lnTo>
                  <a:cubicBezTo>
                    <a:pt x="253680" y="74693"/>
                    <a:pt x="256237" y="72139"/>
                    <a:pt x="260070" y="72139"/>
                  </a:cubicBezTo>
                  <a:cubicBezTo>
                    <a:pt x="263904" y="72139"/>
                    <a:pt x="266460" y="74693"/>
                    <a:pt x="266460" y="78523"/>
                  </a:cubicBezTo>
                  <a:lnTo>
                    <a:pt x="266460" y="96398"/>
                  </a:lnTo>
                  <a:lnTo>
                    <a:pt x="284991" y="96398"/>
                  </a:lnTo>
                  <a:cubicBezTo>
                    <a:pt x="288825" y="96398"/>
                    <a:pt x="291381" y="98952"/>
                    <a:pt x="291381" y="102782"/>
                  </a:cubicBezTo>
                  <a:cubicBezTo>
                    <a:pt x="291381" y="106613"/>
                    <a:pt x="288825" y="109166"/>
                    <a:pt x="284991" y="109166"/>
                  </a:cubicBezTo>
                  <a:lnTo>
                    <a:pt x="283074" y="1091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444F72F9-DA62-DA4B-8ECA-3A7D1E63C16F}"/>
              </a:ext>
            </a:extLst>
          </p:cNvPr>
          <p:cNvSpPr/>
          <p:nvPr/>
        </p:nvSpPr>
        <p:spPr>
          <a:xfrm>
            <a:off x="4721287" y="1998476"/>
            <a:ext cx="3108960" cy="108636"/>
          </a:xfrm>
          <a:prstGeom prst="rect">
            <a:avLst/>
          </a:prstGeom>
          <a:solidFill>
            <a:srgbClr val="009A4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8280938-09F7-2649-AC29-F4DCFF877966}"/>
              </a:ext>
            </a:extLst>
          </p:cNvPr>
          <p:cNvSpPr/>
          <p:nvPr/>
        </p:nvSpPr>
        <p:spPr>
          <a:xfrm>
            <a:off x="7827886" y="1998476"/>
            <a:ext cx="3185999" cy="105379"/>
          </a:xfrm>
          <a:prstGeom prst="rect">
            <a:avLst/>
          </a:prstGeom>
          <a:solidFill>
            <a:srgbClr val="6FC2B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460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068012714"/>
              </p:ext>
            </p:extLst>
          </p:nvPr>
        </p:nvGraphicFramePr>
        <p:xfrm>
          <a:off x="556381" y="1511904"/>
          <a:ext cx="11100688" cy="1835431"/>
        </p:xfrm>
        <a:graphic>
          <a:graphicData uri="http://schemas.openxmlformats.org/drawingml/2006/table">
            <a:tbl>
              <a:tblPr>
                <a:tableStyleId>{9D7B26C5-4107-4FEC-AEDC-1716B250A1EF}</a:tableStyleId>
              </a:tblPr>
              <a:tblGrid>
                <a:gridCol w="1257429">
                  <a:extLst>
                    <a:ext uri="{9D8B030D-6E8A-4147-A177-3AD203B41FA5}">
                      <a16:colId xmlns:a16="http://schemas.microsoft.com/office/drawing/2014/main" val="2537121759"/>
                    </a:ext>
                  </a:extLst>
                </a:gridCol>
                <a:gridCol w="9843259">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u="none" strike="noStrike">
                          <a:effectLst/>
                          <a:latin typeface="+mj-lt"/>
                          <a:cs typeface="Arial"/>
                        </a:rPr>
                        <a:t>Data Sourc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endParaRPr lang="en-US" sz="180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source of dataset selected is from Kaggle, Kaggle is defined as the world’s largest data science community on internet. In this platform you can found datasets, use notebooks for running code and enlist to competitions and solving data science challenges.</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Kaggle page grabbed its data from Zenodo.org where all the credit card information was stored.</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Access: </a:t>
                      </a:r>
                      <a:r>
                        <a:rPr lang="en-US" sz="1050">
                          <a:hlinkClick r:id="rId3"/>
                        </a:rPr>
                        <a:t>Prediction of Churning Credit Card Customers (zenodo.org)</a:t>
                      </a:r>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5932289"/>
                  </a:ext>
                </a:extLst>
              </a:tr>
            </a:tbl>
          </a:graphicData>
        </a:graphic>
      </p:graphicFrame>
    </p:spTree>
    <p:extLst>
      <p:ext uri="{BB962C8B-B14F-4D97-AF65-F5344CB8AC3E}">
        <p14:creationId xmlns:p14="http://schemas.microsoft.com/office/powerpoint/2010/main" val="24509634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11625794"/>
              </p:ext>
            </p:extLst>
          </p:nvPr>
        </p:nvGraphicFramePr>
        <p:xfrm>
          <a:off x="556381" y="1511904"/>
          <a:ext cx="11100688" cy="2781999"/>
        </p:xfrm>
        <a:graphic>
          <a:graphicData uri="http://schemas.openxmlformats.org/drawingml/2006/table">
            <a:tbl>
              <a:tblPr>
                <a:tableStyleId>{9D7B26C5-4107-4FEC-AEDC-1716B250A1EF}</a:tableStyleId>
              </a:tblPr>
              <a:tblGrid>
                <a:gridCol w="3285946">
                  <a:extLst>
                    <a:ext uri="{9D8B030D-6E8A-4147-A177-3AD203B41FA5}">
                      <a16:colId xmlns:a16="http://schemas.microsoft.com/office/drawing/2014/main" val="2537121759"/>
                    </a:ext>
                  </a:extLst>
                </a:gridCol>
                <a:gridCol w="7814742">
                  <a:extLst>
                    <a:ext uri="{9D8B030D-6E8A-4147-A177-3AD203B41FA5}">
                      <a16:colId xmlns:a16="http://schemas.microsoft.com/office/drawing/2014/main" val="2136867599"/>
                    </a:ext>
                  </a:extLst>
                </a:gridCol>
              </a:tblGrid>
              <a:tr h="61029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167190">
                <a:tc>
                  <a:txBody>
                    <a:bodyPr/>
                    <a:lstStyle/>
                    <a:p>
                      <a:pPr algn="l" fontAlgn="b"/>
                      <a:r>
                        <a:rPr lang="en-US" sz="1100" u="none" strike="noStrike">
                          <a:effectLst/>
                          <a:latin typeface="+mj-lt"/>
                          <a:cs typeface="Arial"/>
                        </a:rPr>
                        <a:t>Data Preparation Steps*</a:t>
                      </a:r>
                      <a:endParaRPr lang="en-US" sz="1100" b="0" i="0" u="none" strike="noStrike">
                        <a:solidFill>
                          <a:srgbClr val="000000"/>
                        </a:solidFill>
                        <a:effectLst/>
                        <a:latin typeface="+mj-lt"/>
                        <a:cs typeface="Arial"/>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Which tools or methods are needed to prepare the data before using it?</a:t>
                      </a:r>
                    </a:p>
                    <a:p>
                      <a:pPr algn="l" fontAlgn="auto"/>
                      <a:endParaRPr lang="en-US" sz="1050" b="0" i="1" u="none" strike="noStrike">
                        <a:solidFill>
                          <a:srgbClr val="000000"/>
                        </a:solidFill>
                        <a:effectLst/>
                        <a:latin typeface="Open Sans"/>
                        <a:ea typeface="Open Sans"/>
                        <a:cs typeface="Open Sans"/>
                      </a:endParaRPr>
                    </a:p>
                    <a:p>
                      <a:pPr algn="l" fontAlgn="auto"/>
                      <a:r>
                        <a:rPr lang="en-US" sz="1050" kern="1200">
                          <a:solidFill>
                            <a:schemeClr val="tx1"/>
                          </a:solidFill>
                          <a:effectLst/>
                          <a:latin typeface="+mn-lt"/>
                          <a:ea typeface="+mn-ea"/>
                          <a:cs typeface="+mn-cs"/>
                        </a:rPr>
                        <a:t>        The dataset that we have has 20 features that consist of various strings and integers. We will need to ensure that all the data is in numerical form before beginning any sort of analysis on the data and before any training begins. Thus, we will have to implement a one-hot-encoding technique to create dummy variables for the various features that are string values. </a:t>
                      </a:r>
                      <a:endParaRPr lang="en-US" sz="1050" b="0" i="1" u="none" strike="noStrike">
                        <a:solidFill>
                          <a:srgbClr val="000000"/>
                        </a:solidFill>
                        <a:effectLst/>
                        <a:latin typeface="Open Sans"/>
                        <a:ea typeface="Open Sans"/>
                        <a:cs typeface="Open Sans"/>
                      </a:endParaRPr>
                    </a:p>
                    <a:p>
                      <a:pPr lvl="0" algn="l">
                        <a:buNone/>
                      </a:pPr>
                      <a:r>
                        <a:rPr lang="en-US" sz="1050" kern="1200">
                          <a:solidFill>
                            <a:schemeClr val="tx1"/>
                          </a:solidFill>
                          <a:effectLst/>
                          <a:latin typeface="+mn-lt"/>
                          <a:ea typeface="+mn-ea"/>
                          <a:cs typeface="+mn-cs"/>
                        </a:rPr>
                        <a:t>        We will conduct extensive exploratory data analysis to determine if there are any features that are imbalanced one way or another (i.e., not providing much information for the prediction). The tools we will need to complete these steps are the one hot encoding library on python as well as pandas and matplotlib to perform our EDA. If we notice anything abnormal regarding the features, missing values, imbalances, or outliers, we will need to use additional tools to handle those cases such as SMOTE and feature selection (this is discussed more in the following section). In addition to the previously mentioned tasks, we must standardize all the features to ensure that the model interprets each feature on the same scale.</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423835941"/>
                  </a:ext>
                </a:extLst>
              </a:tr>
            </a:tbl>
          </a:graphicData>
        </a:graphic>
      </p:graphicFrame>
    </p:spTree>
    <p:extLst>
      <p:ext uri="{BB962C8B-B14F-4D97-AF65-F5344CB8AC3E}">
        <p14:creationId xmlns:p14="http://schemas.microsoft.com/office/powerpoint/2010/main" val="2534569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996535936"/>
              </p:ext>
            </p:extLst>
          </p:nvPr>
        </p:nvGraphicFramePr>
        <p:xfrm>
          <a:off x="556381" y="1511905"/>
          <a:ext cx="11100688" cy="3303529"/>
        </p:xfrm>
        <a:graphic>
          <a:graphicData uri="http://schemas.openxmlformats.org/drawingml/2006/table">
            <a:tbl>
              <a:tblPr>
                <a:tableStyleId>{9D7B26C5-4107-4FEC-AEDC-1716B250A1EF}</a:tableStyleId>
              </a:tblPr>
              <a:tblGrid>
                <a:gridCol w="1482281">
                  <a:extLst>
                    <a:ext uri="{9D8B030D-6E8A-4147-A177-3AD203B41FA5}">
                      <a16:colId xmlns:a16="http://schemas.microsoft.com/office/drawing/2014/main" val="2537121759"/>
                    </a:ext>
                  </a:extLst>
                </a:gridCol>
                <a:gridCol w="9618407">
                  <a:extLst>
                    <a:ext uri="{9D8B030D-6E8A-4147-A177-3AD203B41FA5}">
                      <a16:colId xmlns:a16="http://schemas.microsoft.com/office/drawing/2014/main" val="2136867599"/>
                    </a:ext>
                  </a:extLst>
                </a:gridCol>
              </a:tblGrid>
              <a:tr h="31808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968249">
                <a:tc>
                  <a:txBody>
                    <a:bodyPr/>
                    <a:lstStyle/>
                    <a:p>
                      <a:pPr algn="l" fontAlgn="b"/>
                      <a:r>
                        <a:rPr lang="en-US" sz="1100" b="0" i="0" u="none" strike="noStrike">
                          <a:solidFill>
                            <a:srgbClr val="000000"/>
                          </a:solidFill>
                          <a:effectLst/>
                          <a:latin typeface="+mj-lt"/>
                          <a:cs typeface="Arial"/>
                        </a:rPr>
                        <a:t>Data Challenges*</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0" indent="0" algn="just">
                        <a:buNone/>
                      </a:pPr>
                      <a:r>
                        <a:rPr lang="en-US" sz="1050" b="1" kern="1200">
                          <a:solidFill>
                            <a:schemeClr val="tx1"/>
                          </a:solidFill>
                          <a:effectLst/>
                          <a:latin typeface="+mn-lt"/>
                          <a:ea typeface="+mn-ea"/>
                          <a:cs typeface="+mn-cs"/>
                        </a:rPr>
                        <a:t>Missing data: </a:t>
                      </a:r>
                      <a:r>
                        <a:rPr lang="en-US" sz="1050" kern="1200">
                          <a:solidFill>
                            <a:schemeClr val="tx1"/>
                          </a:solidFill>
                          <a:effectLst/>
                          <a:latin typeface="+mn-lt"/>
                          <a:ea typeface="+mn-ea"/>
                          <a:cs typeface="+mn-cs"/>
                        </a:rPr>
                        <a:t>Observing the Kaggle information and analyzing the dataset, there is not missing values from any feature information, which is exceptional for the teamwork in data cleaning process. Most of the problem results could be on taking decisions about but this will not be the case.</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Class imbalance: </a:t>
                      </a:r>
                      <a:r>
                        <a:rPr lang="en-US" sz="1050" kern="1200">
                          <a:solidFill>
                            <a:schemeClr val="tx1"/>
                          </a:solidFill>
                          <a:effectLst/>
                          <a:latin typeface="+mn-lt"/>
                          <a:ea typeface="+mn-ea"/>
                          <a:cs typeface="+mn-cs"/>
                        </a:rPr>
                        <a:t>There are some features with this type of cases, talking about these problems, for categorical values this focus on what type of profile or category is better to analyze, the risk of not have this in consideration will result on a model that is not capable of approaching reality, since it will only consider the categories with the greatest amount of data. Best way to approach on this is make a configuration in hyperparameters to split the same amount of data by category for training the model, this will result on a balanced classification. </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Data with normal distribution: </a:t>
                      </a:r>
                      <a:r>
                        <a:rPr lang="en-US" sz="1050" kern="1200">
                          <a:solidFill>
                            <a:schemeClr val="tx1"/>
                          </a:solidFill>
                          <a:effectLst/>
                          <a:latin typeface="+mn-lt"/>
                          <a:ea typeface="+mn-ea"/>
                          <a:cs typeface="+mn-cs"/>
                        </a:rPr>
                        <a:t>Observing with detail the dataset features, this could be a minimal risk, because most of the integer data is statistically normal, this means that data will not be imbalanced in the case of this type of data. Finally, despite there are some outliers, is not representing more of 5% of the total data in that featur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4294498710"/>
                  </a:ext>
                </a:extLst>
              </a:tr>
            </a:tbl>
          </a:graphicData>
        </a:graphic>
      </p:graphicFrame>
    </p:spTree>
    <p:extLst>
      <p:ext uri="{BB962C8B-B14F-4D97-AF65-F5344CB8AC3E}">
        <p14:creationId xmlns:p14="http://schemas.microsoft.com/office/powerpoint/2010/main" val="28316913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51644108"/>
              </p:ext>
            </p:extLst>
          </p:nvPr>
        </p:nvGraphicFramePr>
        <p:xfrm>
          <a:off x="556381" y="1511904"/>
          <a:ext cx="11100688" cy="3001291"/>
        </p:xfrm>
        <a:graphic>
          <a:graphicData uri="http://schemas.openxmlformats.org/drawingml/2006/table">
            <a:tbl>
              <a:tblPr>
                <a:tableStyleId>{9D7B26C5-4107-4FEC-AEDC-1716B250A1EF}</a:tableStyleId>
              </a:tblPr>
              <a:tblGrid>
                <a:gridCol w="1809747">
                  <a:extLst>
                    <a:ext uri="{9D8B030D-6E8A-4147-A177-3AD203B41FA5}">
                      <a16:colId xmlns:a16="http://schemas.microsoft.com/office/drawing/2014/main" val="2537121759"/>
                    </a:ext>
                  </a:extLst>
                </a:gridCol>
                <a:gridCol w="9290941">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Modeling Techniqu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r>
                        <a:rPr lang="en-US" sz="1050" kern="1200">
                          <a:solidFill>
                            <a:schemeClr val="tx1"/>
                          </a:solidFill>
                          <a:effectLst/>
                          <a:latin typeface="+mn-lt"/>
                          <a:ea typeface="+mn-ea"/>
                          <a:cs typeface="+mn-cs"/>
                        </a:rPr>
                        <a:t>Despite there are many options of classification algorithms, the best options to approach this case will be selected from the simplest model to the most complex model, according to the implementation to this projec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Logistic Regression:</a:t>
                      </a:r>
                      <a:r>
                        <a:rPr lang="en-US" sz="1050" kern="1200">
                          <a:solidFill>
                            <a:schemeClr val="tx1"/>
                          </a:solidFill>
                          <a:effectLst/>
                          <a:latin typeface="+mn-lt"/>
                          <a:ea typeface="+mn-ea"/>
                          <a:cs typeface="+mn-cs"/>
                        </a:rPr>
                        <a:t> In some cases, a complex model could not be the best way to approach a problem, and ever classification problem needs to start from the simplest way to get a base accuracy score. Another perspective is about the problem case, because the objective of this project is to determine between yes or no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K-Nearest Neighbor: </a:t>
                      </a:r>
                      <a:r>
                        <a:rPr lang="en-US" sz="1050" kern="1200">
                          <a:solidFill>
                            <a:schemeClr val="tx1"/>
                          </a:solidFill>
                          <a:effectLst/>
                          <a:latin typeface="+mn-lt"/>
                          <a:ea typeface="+mn-ea"/>
                          <a:cs typeface="+mn-cs"/>
                        </a:rPr>
                        <a:t>In this model, it supposed to classify a result based on what group of point is nearest positionally. This could be other model to use because there are a lot of features that can be selected.</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Decision Tree: </a:t>
                      </a:r>
                      <a:r>
                        <a:rPr lang="en-US" sz="1050" kern="1200">
                          <a:solidFill>
                            <a:schemeClr val="tx1"/>
                          </a:solidFill>
                          <a:effectLst/>
                          <a:latin typeface="+mn-lt"/>
                          <a:ea typeface="+mn-ea"/>
                          <a:cs typeface="+mn-cs"/>
                        </a:rPr>
                        <a:t>This model can be excellent for many classification problems; In some cases, this could be a base model cause is ever worth it to use. Around the decision rules, it could be made according to the features selected.</a:t>
                      </a:r>
                    </a:p>
                    <a:p>
                      <a:endParaRPr lang="en-US" sz="1050" b="1"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Support Vector Machines (SVM): </a:t>
                      </a:r>
                      <a:r>
                        <a:rPr lang="en-US" sz="1050" kern="1200">
                          <a:solidFill>
                            <a:schemeClr val="tx1"/>
                          </a:solidFill>
                          <a:effectLst/>
                          <a:latin typeface="+mn-lt"/>
                          <a:ea typeface="+mn-ea"/>
                          <a:cs typeface="+mn-cs"/>
                        </a:rPr>
                        <a:t>According to different features, it is created a linear that separate two groups, despite is a good model to use in classification problems, is probably that data is not linearly separabl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2271740828"/>
                  </a:ext>
                </a:extLst>
              </a:tr>
            </a:tbl>
          </a:graphicData>
        </a:graphic>
      </p:graphicFrame>
    </p:spTree>
    <p:extLst>
      <p:ext uri="{BB962C8B-B14F-4D97-AF65-F5344CB8AC3E}">
        <p14:creationId xmlns:p14="http://schemas.microsoft.com/office/powerpoint/2010/main" val="866751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568737341"/>
              </p:ext>
            </p:extLst>
          </p:nvPr>
        </p:nvGraphicFramePr>
        <p:xfrm>
          <a:off x="556381" y="1511904"/>
          <a:ext cx="11100688" cy="2361211"/>
        </p:xfrm>
        <a:graphic>
          <a:graphicData uri="http://schemas.openxmlformats.org/drawingml/2006/table">
            <a:tbl>
              <a:tblPr>
                <a:tableStyleId>{9D7B26C5-4107-4FEC-AEDC-1716B250A1EF}</a:tableStyleId>
              </a:tblPr>
              <a:tblGrid>
                <a:gridCol w="3581510">
                  <a:extLst>
                    <a:ext uri="{9D8B030D-6E8A-4147-A177-3AD203B41FA5}">
                      <a16:colId xmlns:a16="http://schemas.microsoft.com/office/drawing/2014/main" val="2537121759"/>
                    </a:ext>
                  </a:extLst>
                </a:gridCol>
                <a:gridCol w="7519178">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arget Variabl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Indicate the target variable and connect the choice to the proposed problem.</a:t>
                      </a:r>
                    </a:p>
                    <a:p>
                      <a:pPr algn="l" fontAlgn="auto"/>
                      <a:endParaRPr lang="en-US" sz="1050" b="0" i="1" u="none" strike="noStrike">
                        <a:solidFill>
                          <a:srgbClr val="000000"/>
                        </a:solidFill>
                        <a:effectLst/>
                        <a:latin typeface="Open Sans"/>
                        <a:ea typeface="Open Sans"/>
                        <a:cs typeface="Open Sans"/>
                      </a:endParaRPr>
                    </a:p>
                    <a:p>
                      <a:pPr algn="l" fontAlgn="auto"/>
                      <a:endParaRPr lang="en-US" sz="1050" b="0" i="1" u="none" strike="noStrike">
                        <a:solidFill>
                          <a:srgbClr val="000000"/>
                        </a:solidFill>
                        <a:effectLst/>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effectLst/>
                          <a:latin typeface="+mn-lt"/>
                          <a:ea typeface="+mn-ea"/>
                          <a:cs typeface="+mn-cs"/>
                        </a:rPr>
                        <a:t>    The column 'Attrition flag' will contain the values for us to try to predict with the model. This is because the data within this column corresponds to whether an individual customer churned out of the company’s services or not. It is stored as a binary variable where 0 is an existing customer and 1 is a customer that left. Using this as our target will allow us to train the model with on all the data including age, income, education, etc. and later predict whether a customer will churn out or not based off these characteristics. This will allow us to preemptively create a group of individuals that are likely to leave the company soon based on their characteristics. Once we have obtained this group of people, we can begin to customize a business strategy to improve the probability that the customer does not churn out. </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3181198"/>
                  </a:ext>
                </a:extLst>
              </a:tr>
            </a:tbl>
          </a:graphicData>
        </a:graphic>
      </p:graphicFrame>
    </p:spTree>
    <p:extLst>
      <p:ext uri="{BB962C8B-B14F-4D97-AF65-F5344CB8AC3E}">
        <p14:creationId xmlns:p14="http://schemas.microsoft.com/office/powerpoint/2010/main" val="19016202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729906855"/>
              </p:ext>
            </p:extLst>
          </p:nvPr>
        </p:nvGraphicFramePr>
        <p:xfrm>
          <a:off x="556381" y="1511904"/>
          <a:ext cx="11100688" cy="3198422"/>
        </p:xfrm>
        <a:graphic>
          <a:graphicData uri="http://schemas.openxmlformats.org/drawingml/2006/table">
            <a:tbl>
              <a:tblPr>
                <a:tableStyleId>{9D7B26C5-4107-4FEC-AEDC-1716B250A1EF}</a:tableStyleId>
              </a:tblPr>
              <a:tblGrid>
                <a:gridCol w="3646164">
                  <a:extLst>
                    <a:ext uri="{9D8B030D-6E8A-4147-A177-3AD203B41FA5}">
                      <a16:colId xmlns:a16="http://schemas.microsoft.com/office/drawing/2014/main" val="2537121759"/>
                    </a:ext>
                  </a:extLst>
                </a:gridCol>
                <a:gridCol w="7454524">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ools/Methodologi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050" b="0" i="1" u="none" strike="noStrike">
                          <a:solidFill>
                            <a:srgbClr val="000000"/>
                          </a:solidFill>
                          <a:effectLst/>
                          <a:latin typeface="Open Sans"/>
                          <a:ea typeface="Open Sans"/>
                          <a:cs typeface="Open Sans"/>
                        </a:rPr>
                        <a:t>Indicate the tools you plan to use to solve the problem. Name specific Python libraries or particular techniques that will be used. </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a:ea typeface="Open Sans"/>
                        <a:cs typeface="Open Sans"/>
                      </a:endParaRPr>
                    </a:p>
                    <a:p>
                      <a:pPr marL="171450" lvl="0" indent="-171450">
                        <a:buFont typeface="Arial" panose="020B0604020202020204" pitchFamily="34" charset="0"/>
                        <a:buChar char="•"/>
                      </a:pPr>
                      <a:r>
                        <a:rPr lang="en-US" sz="1050" kern="1200">
                          <a:solidFill>
                            <a:schemeClr val="tx1"/>
                          </a:solidFill>
                          <a:effectLst/>
                          <a:latin typeface="+mn-lt"/>
                          <a:ea typeface="+mn-ea"/>
                          <a:cs typeface="+mn-cs"/>
                        </a:rPr>
                        <a:t>Panda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Scikit-Lear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Matplotlib</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Numpy</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Feature Sele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imensionality Redu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ummy Variable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Oversampling of data</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fontAlgn="b"/>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710909527"/>
                  </a:ext>
                </a:extLst>
              </a:tr>
              <a:tr h="5095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mn-lt"/>
                          <a:ea typeface="+mn-ea"/>
                          <a:cs typeface="Arial"/>
                        </a:rPr>
                        <a:t>Regression or Classification problem </a:t>
                      </a:r>
                      <a:endParaRPr lang="en-US" sz="1100" b="0" i="0" u="none" strike="noStrike" kern="1200">
                        <a:solidFill>
                          <a:srgbClr val="000000"/>
                        </a:solidFill>
                        <a:effectLst/>
                        <a:latin typeface="+mn-lt"/>
                        <a:ea typeface="+mn-ea"/>
                        <a:cs typeface="Arial" panose="020B0604020202020204" pitchFamily="34" charset="0"/>
                      </a:endParaRPr>
                    </a:p>
                    <a:p>
                      <a:pPr algn="l" fontAlgn="b"/>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tc>
                  <a:txBody>
                    <a:bodyPr/>
                    <a:lstStyle/>
                    <a:p>
                      <a:pPr algn="l" fontAlgn="b"/>
                      <a:r>
                        <a:rPr lang="en-US" sz="1050" b="0" i="0" u="none" strike="noStrike">
                          <a:solidFill>
                            <a:srgbClr val="000000"/>
                          </a:solidFill>
                          <a:effectLst/>
                          <a:latin typeface="+mj-lt"/>
                          <a:ea typeface="Open Sans"/>
                          <a:cs typeface="Open Sans"/>
                        </a:rPr>
                        <a:t>Our use case is a classification problem.</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22743514"/>
                  </a:ext>
                </a:extLst>
              </a:tr>
            </a:tbl>
          </a:graphicData>
        </a:graphic>
      </p:graphicFrame>
    </p:spTree>
    <p:extLst>
      <p:ext uri="{BB962C8B-B14F-4D97-AF65-F5344CB8AC3E}">
        <p14:creationId xmlns:p14="http://schemas.microsoft.com/office/powerpoint/2010/main" val="2749574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469900" y="280089"/>
            <a:ext cx="11126689" cy="400110"/>
          </a:xfrm>
        </p:spPr>
        <p:txBody>
          <a:bodyPr/>
          <a:lstStyle/>
          <a:p>
            <a:r>
              <a:rPr lang="en-US" altLang="ja-JP">
                <a:latin typeface="Open Sans Semibold"/>
                <a:ea typeface="Open Sans Semibold"/>
                <a:cs typeface="Open Sans Semibold"/>
              </a:rPr>
              <a:t>Project Timeline </a:t>
            </a:r>
            <a:endParaRPr lang="en-US">
              <a:latin typeface="Open Sans Semibold"/>
              <a:ea typeface="Open Sans Semibold"/>
              <a:cs typeface="Open Sans Semibold"/>
            </a:endParaRPr>
          </a:p>
        </p:txBody>
      </p:sp>
      <p:sp>
        <p:nvSpPr>
          <p:cNvPr id="4" name="Text Placeholder 3">
            <a:extLst>
              <a:ext uri="{FF2B5EF4-FFF2-40B4-BE49-F238E27FC236}">
                <a16:creationId xmlns:a16="http://schemas.microsoft.com/office/drawing/2014/main" id="{25D91589-EB35-75E8-DCC1-02890E75FBA7}"/>
              </a:ext>
            </a:extLst>
          </p:cNvPr>
          <p:cNvSpPr>
            <a:spLocks noGrp="1"/>
          </p:cNvSpPr>
          <p:nvPr>
            <p:ph type="body" sz="quarter" idx="10"/>
          </p:nvPr>
        </p:nvSpPr>
        <p:spPr>
          <a:xfrm>
            <a:off x="469800" y="803932"/>
            <a:ext cx="11615703" cy="492443"/>
          </a:xfrm>
        </p:spPr>
        <p:txBody>
          <a:bodyPr/>
          <a:lstStyle/>
          <a:p>
            <a:r>
              <a:rPr lang="en-US" i="1"/>
              <a:t>Recommended timeline – Adjust/customize based on your team plan. This should be updated as part of your proposal and status update  </a:t>
            </a:r>
          </a:p>
        </p:txBody>
      </p:sp>
      <p:sp>
        <p:nvSpPr>
          <p:cNvPr id="3" name="Slide Number Placeholder 2"/>
          <p:cNvSpPr>
            <a:spLocks noGrp="1"/>
          </p:cNvSpPr>
          <p:nvPr>
            <p:ph type="sldNum" sz="quarter" idx="4294967295"/>
          </p:nvPr>
        </p:nvSpPr>
        <p:spPr>
          <a:xfrm>
            <a:off x="11136313" y="6407150"/>
            <a:ext cx="1055687" cy="252413"/>
          </a:xfrm>
          <a:prstGeom prst="rect">
            <a:avLst/>
          </a:prstGeom>
        </p:spPr>
        <p:txBody>
          <a:bodyPr/>
          <a:lstStyle/>
          <a:p>
            <a:fld id="{95CC1D26-A9BD-4BDE-BDD9-08EDBAE96860}" type="slidenum">
              <a:rPr lang="en-GB">
                <a:latin typeface="Arial"/>
              </a:rPr>
              <a:pPr/>
              <a:t>16</a:t>
            </a:fld>
            <a:endParaRPr lang="en-GB">
              <a:latin typeface="Arial"/>
            </a:endParaRPr>
          </a:p>
        </p:txBody>
      </p:sp>
      <p:graphicFrame>
        <p:nvGraphicFramePr>
          <p:cNvPr id="5" name="Group 3"/>
          <p:cNvGraphicFramePr>
            <a:graphicFrameLocks noGrp="1"/>
          </p:cNvGraphicFramePr>
          <p:nvPr>
            <p:extLst>
              <p:ext uri="{D42A27DB-BD31-4B8C-83A1-F6EECF244321}">
                <p14:modId xmlns:p14="http://schemas.microsoft.com/office/powerpoint/2010/main" val="1000367408"/>
              </p:ext>
            </p:extLst>
          </p:nvPr>
        </p:nvGraphicFramePr>
        <p:xfrm>
          <a:off x="723899" y="1438275"/>
          <a:ext cx="11126689" cy="3743198"/>
        </p:xfrm>
        <a:graphic>
          <a:graphicData uri="http://schemas.openxmlformats.org/drawingml/2006/table">
            <a:tbl>
              <a:tblPr>
                <a:tableStyleId>{8799B23B-EC83-4686-B30A-512413B5E67A}</a:tableStyleId>
              </a:tblPr>
              <a:tblGrid>
                <a:gridCol w="1920149">
                  <a:extLst>
                    <a:ext uri="{9D8B030D-6E8A-4147-A177-3AD203B41FA5}">
                      <a16:colId xmlns:a16="http://schemas.microsoft.com/office/drawing/2014/main" val="20000"/>
                    </a:ext>
                  </a:extLst>
                </a:gridCol>
                <a:gridCol w="823052">
                  <a:extLst>
                    <a:ext uri="{9D8B030D-6E8A-4147-A177-3AD203B41FA5}">
                      <a16:colId xmlns:a16="http://schemas.microsoft.com/office/drawing/2014/main" val="1798761181"/>
                    </a:ext>
                  </a:extLst>
                </a:gridCol>
                <a:gridCol w="698624">
                  <a:extLst>
                    <a:ext uri="{9D8B030D-6E8A-4147-A177-3AD203B41FA5}">
                      <a16:colId xmlns:a16="http://schemas.microsoft.com/office/drawing/2014/main" val="20001"/>
                    </a:ext>
                  </a:extLst>
                </a:gridCol>
                <a:gridCol w="698624">
                  <a:extLst>
                    <a:ext uri="{9D8B030D-6E8A-4147-A177-3AD203B41FA5}">
                      <a16:colId xmlns:a16="http://schemas.microsoft.com/office/drawing/2014/main" val="20002"/>
                    </a:ext>
                  </a:extLst>
                </a:gridCol>
                <a:gridCol w="698624">
                  <a:extLst>
                    <a:ext uri="{9D8B030D-6E8A-4147-A177-3AD203B41FA5}">
                      <a16:colId xmlns:a16="http://schemas.microsoft.com/office/drawing/2014/main" val="20003"/>
                    </a:ext>
                  </a:extLst>
                </a:gridCol>
                <a:gridCol w="698624">
                  <a:extLst>
                    <a:ext uri="{9D8B030D-6E8A-4147-A177-3AD203B41FA5}">
                      <a16:colId xmlns:a16="http://schemas.microsoft.com/office/drawing/2014/main" val="20004"/>
                    </a:ext>
                  </a:extLst>
                </a:gridCol>
                <a:gridCol w="698624">
                  <a:extLst>
                    <a:ext uri="{9D8B030D-6E8A-4147-A177-3AD203B41FA5}">
                      <a16:colId xmlns:a16="http://schemas.microsoft.com/office/drawing/2014/main" val="20005"/>
                    </a:ext>
                  </a:extLst>
                </a:gridCol>
                <a:gridCol w="698624">
                  <a:extLst>
                    <a:ext uri="{9D8B030D-6E8A-4147-A177-3AD203B41FA5}">
                      <a16:colId xmlns:a16="http://schemas.microsoft.com/office/drawing/2014/main" val="20006"/>
                    </a:ext>
                  </a:extLst>
                </a:gridCol>
                <a:gridCol w="698624">
                  <a:extLst>
                    <a:ext uri="{9D8B030D-6E8A-4147-A177-3AD203B41FA5}">
                      <a16:colId xmlns:a16="http://schemas.microsoft.com/office/drawing/2014/main" val="20007"/>
                    </a:ext>
                  </a:extLst>
                </a:gridCol>
                <a:gridCol w="698624">
                  <a:extLst>
                    <a:ext uri="{9D8B030D-6E8A-4147-A177-3AD203B41FA5}">
                      <a16:colId xmlns:a16="http://schemas.microsoft.com/office/drawing/2014/main" val="20008"/>
                    </a:ext>
                  </a:extLst>
                </a:gridCol>
                <a:gridCol w="698624">
                  <a:extLst>
                    <a:ext uri="{9D8B030D-6E8A-4147-A177-3AD203B41FA5}">
                      <a16:colId xmlns:a16="http://schemas.microsoft.com/office/drawing/2014/main" val="20009"/>
                    </a:ext>
                  </a:extLst>
                </a:gridCol>
                <a:gridCol w="698624">
                  <a:extLst>
                    <a:ext uri="{9D8B030D-6E8A-4147-A177-3AD203B41FA5}">
                      <a16:colId xmlns:a16="http://schemas.microsoft.com/office/drawing/2014/main" val="20010"/>
                    </a:ext>
                  </a:extLst>
                </a:gridCol>
                <a:gridCol w="698624">
                  <a:extLst>
                    <a:ext uri="{9D8B030D-6E8A-4147-A177-3AD203B41FA5}">
                      <a16:colId xmlns:a16="http://schemas.microsoft.com/office/drawing/2014/main" val="20011"/>
                    </a:ext>
                  </a:extLst>
                </a:gridCol>
                <a:gridCol w="698624">
                  <a:extLst>
                    <a:ext uri="{9D8B030D-6E8A-4147-A177-3AD203B41FA5}">
                      <a16:colId xmlns:a16="http://schemas.microsoft.com/office/drawing/2014/main" val="1375235669"/>
                    </a:ext>
                  </a:extLst>
                </a:gridCol>
              </a:tblGrid>
              <a:tr h="256930">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u="none" strike="noStrike" cap="none" normalizeH="0" baseline="0">
                          <a:ln>
                            <a:noFill/>
                          </a:ln>
                          <a:solidFill>
                            <a:srgbClr val="313131"/>
                          </a:solidFill>
                          <a:effectLst/>
                        </a:rPr>
                        <a:t>Week Number</a:t>
                      </a:r>
                      <a:r>
                        <a:rPr lang="en-US" altLang="ja-JP" sz="1100" b="1" u="none" strike="noStrike" cap="none" normalizeH="0" baseline="0">
                          <a:ln>
                            <a:noFill/>
                          </a:ln>
                          <a:solidFill>
                            <a:srgbClr val="313131"/>
                          </a:solidFill>
                          <a:effectLst/>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0" u="none" strike="noStrike" cap="none" normalizeH="0" baseline="0">
                          <a:ln>
                            <a:noFill/>
                          </a:ln>
                          <a:solidFill>
                            <a:srgbClr val="313131"/>
                          </a:solidFill>
                          <a:effectLst/>
                          <a:latin typeface="Arial"/>
                          <a:ea typeface="ＭＳ Ｐゴシック"/>
                        </a:rPr>
                        <a:t>Status Update</a:t>
                      </a:r>
                      <a:r>
                        <a:rPr lang="en-US" altLang="ja-JP" sz="1100" b="1" i="0" u="none" strike="noStrike" cap="none" normalizeH="0" baseline="0">
                          <a:ln>
                            <a:noFill/>
                          </a:ln>
                          <a:solidFill>
                            <a:srgbClr val="313131"/>
                          </a:solidFill>
                          <a:effectLst/>
                          <a:latin typeface="Arial"/>
                          <a:ea typeface="ＭＳ Ｐゴシック"/>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99791">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1" u="none" strike="noStrike" cap="none" normalizeH="0" baseline="0">
                          <a:ln>
                            <a:noFill/>
                          </a:ln>
                          <a:solidFill>
                            <a:schemeClr val="bg1"/>
                          </a:solidFill>
                          <a:effectLst/>
                        </a:rPr>
                        <a:t>Milestones</a:t>
                      </a:r>
                      <a:r>
                        <a:rPr lang="en-US" altLang="ja-JP" sz="1100" b="1" i="1" u="none" strike="noStrike" cap="none" normalizeH="0" baseline="0">
                          <a:ln>
                            <a:noFill/>
                          </a:ln>
                          <a:solidFill>
                            <a:schemeClr val="bg1"/>
                          </a:solidFill>
                          <a:effectLst/>
                        </a:rPr>
                        <a:t> </a:t>
                      </a:r>
                      <a:endParaRPr kumimoji="0" lang="en-US" altLang="ja-JP" sz="1100" b="1" i="1" u="none" strike="noStrike" cap="none" normalizeH="0" baseline="0">
                        <a:ln>
                          <a:noFill/>
                        </a:ln>
                        <a:solidFill>
                          <a:schemeClr val="bg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1100" b="1" i="1" u="none" strike="sng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oposal Due</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VT Feedback </a:t>
                      </a:r>
                      <a:r>
                        <a:rPr kumimoji="0" lang="en-US" sz="800" b="1" i="1" u="none" strike="noStrike" kern="1200" cap="none" normalizeH="0" baseline="0" err="1">
                          <a:ln>
                            <a:noFill/>
                          </a:ln>
                          <a:solidFill>
                            <a:schemeClr val="bg1"/>
                          </a:solidFill>
                          <a:effectLst/>
                          <a:latin typeface="Arial"/>
                          <a:ea typeface="+mn-ea"/>
                          <a:cs typeface="+mn-cs"/>
                        </a:rPr>
                        <a:t>Avali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latiron Feedback Avail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actice Pres.</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inal Pres.</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ormulate business problem</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d data set</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erform literature review</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9791">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1100" b="0" i="0" u="none" strike="noStrike" cap="none" normalizeH="0" baseline="0">
                          <a:ln>
                            <a:noFill/>
                          </a:ln>
                          <a:solidFill>
                            <a:srgbClr val="313131"/>
                          </a:solidFill>
                          <a:effectLst/>
                          <a:latin typeface="Arial"/>
                        </a:rPr>
                        <a:t>Solution hypothesis</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Implement solution</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liminary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al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Evaluate and Benchmark</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sentation Prep</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3464679" y="2413349"/>
            <a:ext cx="2088396"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3" name="Rectangle 240"/>
          <p:cNvSpPr>
            <a:spLocks noChangeArrowheads="1"/>
          </p:cNvSpPr>
          <p:nvPr/>
        </p:nvSpPr>
        <p:spPr bwMode="auto">
          <a:xfrm>
            <a:off x="4132044" y="2730646"/>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4" name="Rectangle 241"/>
          <p:cNvSpPr>
            <a:spLocks noChangeArrowheads="1"/>
          </p:cNvSpPr>
          <p:nvPr/>
        </p:nvSpPr>
        <p:spPr bwMode="auto">
          <a:xfrm>
            <a:off x="4848582" y="3055883"/>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5" name="Rectangle 242"/>
          <p:cNvSpPr>
            <a:spLocks noChangeArrowheads="1"/>
          </p:cNvSpPr>
          <p:nvPr/>
        </p:nvSpPr>
        <p:spPr bwMode="auto">
          <a:xfrm>
            <a:off x="5553075" y="3344325"/>
            <a:ext cx="210502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6" name="Rectangle 243"/>
          <p:cNvSpPr>
            <a:spLocks noChangeArrowheads="1"/>
          </p:cNvSpPr>
          <p:nvPr/>
        </p:nvSpPr>
        <p:spPr bwMode="auto">
          <a:xfrm>
            <a:off x="8353425" y="4523092"/>
            <a:ext cx="27915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7" name="Rectangle 244"/>
          <p:cNvSpPr>
            <a:spLocks noChangeArrowheads="1"/>
          </p:cNvSpPr>
          <p:nvPr/>
        </p:nvSpPr>
        <p:spPr bwMode="auto">
          <a:xfrm>
            <a:off x="10439400" y="4826783"/>
            <a:ext cx="1411188"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6" name="Rectangle 242">
            <a:extLst>
              <a:ext uri="{FF2B5EF4-FFF2-40B4-BE49-F238E27FC236}">
                <a16:creationId xmlns:a16="http://schemas.microsoft.com/office/drawing/2014/main" id="{3EE7319F-A55A-0046-8EAB-8B4E3CAC6C37}"/>
              </a:ext>
            </a:extLst>
          </p:cNvPr>
          <p:cNvSpPr>
            <a:spLocks noChangeArrowheads="1"/>
          </p:cNvSpPr>
          <p:nvPr/>
        </p:nvSpPr>
        <p:spPr bwMode="auto">
          <a:xfrm>
            <a:off x="6210081" y="3647141"/>
            <a:ext cx="4926231"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7" name="Rectangle 242">
            <a:extLst>
              <a:ext uri="{FF2B5EF4-FFF2-40B4-BE49-F238E27FC236}">
                <a16:creationId xmlns:a16="http://schemas.microsoft.com/office/drawing/2014/main" id="{B06D9BEC-4E84-D9C3-B925-E4388D5E4148}"/>
              </a:ext>
            </a:extLst>
          </p:cNvPr>
          <p:cNvSpPr>
            <a:spLocks noChangeArrowheads="1"/>
          </p:cNvSpPr>
          <p:nvPr/>
        </p:nvSpPr>
        <p:spPr bwMode="auto">
          <a:xfrm>
            <a:off x="6287242" y="3961174"/>
            <a:ext cx="3475883"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 name="Rectangle 242">
            <a:extLst>
              <a:ext uri="{FF2B5EF4-FFF2-40B4-BE49-F238E27FC236}">
                <a16:creationId xmlns:a16="http://schemas.microsoft.com/office/drawing/2014/main" id="{958A0F82-65DB-73F6-4C0A-AF3CC449755F}"/>
              </a:ext>
            </a:extLst>
          </p:cNvPr>
          <p:cNvSpPr>
            <a:spLocks noChangeArrowheads="1"/>
          </p:cNvSpPr>
          <p:nvPr/>
        </p:nvSpPr>
        <p:spPr bwMode="auto">
          <a:xfrm>
            <a:off x="9763125" y="4244761"/>
            <a:ext cx="13818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30" name="Rectangle 29">
            <a:extLst>
              <a:ext uri="{FF2B5EF4-FFF2-40B4-BE49-F238E27FC236}">
                <a16:creationId xmlns:a16="http://schemas.microsoft.com/office/drawing/2014/main" id="{296F6096-8D4D-AD1B-81EB-C34188679097}"/>
              </a:ext>
            </a:extLst>
          </p:cNvPr>
          <p:cNvSpPr/>
          <p:nvPr/>
        </p:nvSpPr>
        <p:spPr bwMode="gray">
          <a:xfrm>
            <a:off x="692009" y="5321147"/>
            <a:ext cx="1743075" cy="1212209"/>
          </a:xfrm>
          <a:prstGeom prst="rect">
            <a:avLst/>
          </a:prstGeom>
          <a:solidFill>
            <a:schemeClr val="accent3">
              <a:alpha val="37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a:t>Indicate: </a:t>
            </a:r>
          </a:p>
          <a:p>
            <a:pPr>
              <a:lnSpc>
                <a:spcPct val="106000"/>
              </a:lnSpc>
              <a:buFont typeface="Wingdings 2" pitchFamily="18" charset="2"/>
              <a:buNone/>
            </a:pPr>
            <a:r>
              <a:rPr lang="en-US" sz="1200"/>
              <a:t>Complete</a:t>
            </a:r>
          </a:p>
          <a:p>
            <a:pPr>
              <a:lnSpc>
                <a:spcPct val="106000"/>
              </a:lnSpc>
              <a:buFont typeface="Wingdings 2" pitchFamily="18" charset="2"/>
              <a:buNone/>
            </a:pPr>
            <a:r>
              <a:rPr lang="en-US" sz="1200"/>
              <a:t>On Track </a:t>
            </a:r>
          </a:p>
          <a:p>
            <a:pPr>
              <a:lnSpc>
                <a:spcPct val="106000"/>
              </a:lnSpc>
              <a:buFont typeface="Wingdings 2" pitchFamily="18" charset="2"/>
              <a:buNone/>
            </a:pPr>
            <a:r>
              <a:rPr lang="en-US" sz="1200"/>
              <a:t>At Risk </a:t>
            </a:r>
          </a:p>
          <a:p>
            <a:pPr>
              <a:lnSpc>
                <a:spcPct val="106000"/>
              </a:lnSpc>
              <a:buFont typeface="Wingdings 2" pitchFamily="18" charset="2"/>
              <a:buNone/>
            </a:pPr>
            <a:r>
              <a:rPr lang="en-US" sz="1200"/>
              <a:t>Off Track </a:t>
            </a:r>
          </a:p>
          <a:p>
            <a:pPr>
              <a:lnSpc>
                <a:spcPct val="106000"/>
              </a:lnSpc>
              <a:buFont typeface="Wingdings 2" pitchFamily="18" charset="2"/>
              <a:buNone/>
            </a:pPr>
            <a:endParaRPr lang="en-US" sz="1600" b="1">
              <a:solidFill>
                <a:schemeClr val="bg1"/>
              </a:solidFill>
            </a:endParaRPr>
          </a:p>
        </p:txBody>
      </p:sp>
      <p:cxnSp>
        <p:nvCxnSpPr>
          <p:cNvPr id="37" name="Connector: Elbow 36">
            <a:extLst>
              <a:ext uri="{FF2B5EF4-FFF2-40B4-BE49-F238E27FC236}">
                <a16:creationId xmlns:a16="http://schemas.microsoft.com/office/drawing/2014/main" id="{546CE86E-A0A9-1B1A-1EB3-EA8CF7AA31EE}"/>
              </a:ext>
            </a:extLst>
          </p:cNvPr>
          <p:cNvCxnSpPr>
            <a:cxnSpLocks/>
            <a:stCxn id="30" idx="3"/>
          </p:cNvCxnSpPr>
          <p:nvPr/>
        </p:nvCxnSpPr>
        <p:spPr>
          <a:xfrm flipV="1">
            <a:off x="2435084" y="5201711"/>
            <a:ext cx="704598" cy="72554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590428880"/>
              </p:ext>
            </p:extLst>
          </p:nvPr>
        </p:nvGraphicFramePr>
        <p:xfrm>
          <a:off x="718864" y="1510030"/>
          <a:ext cx="10636066" cy="1833646"/>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85209">
                <a:tc>
                  <a:txBody>
                    <a:bodyPr/>
                    <a:lstStyle/>
                    <a:p>
                      <a:pPr algn="l" fontAlgn="b"/>
                      <a:r>
                        <a:rPr lang="en-US" sz="1100" b="1" u="none" strike="noStrike" cap="none" spc="0">
                          <a:solidFill>
                            <a:schemeClr val="tx1"/>
                          </a:solidFill>
                          <a:effectLst/>
                          <a:latin typeface="+mj-lt"/>
                          <a:cs typeface="Arial"/>
                        </a:rPr>
                        <a:t>Project Name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kern="1200">
                          <a:solidFill>
                            <a:schemeClr val="tx1"/>
                          </a:solidFill>
                          <a:effectLst/>
                          <a:latin typeface="+mn-lt"/>
                          <a:ea typeface="+mn-ea"/>
                          <a:cs typeface="+mn-cs"/>
                        </a:rPr>
                        <a:t>LoyalLock: Predictive Modelling for Customer Segmentation and Churn Re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6986736"/>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rgbClr val="FFFF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3162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44902349"/>
              </p:ext>
            </p:extLst>
          </p:nvPr>
        </p:nvGraphicFramePr>
        <p:xfrm>
          <a:off x="718864" y="1510030"/>
          <a:ext cx="10636066" cy="456031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948437">
                <a:tc>
                  <a:txBody>
                    <a:bodyPr/>
                    <a:lstStyle/>
                    <a:p>
                      <a:pPr algn="l" fontAlgn="b"/>
                      <a:r>
                        <a:rPr lang="en-US" sz="1100" b="1" i="0" u="none" strike="noStrike" cap="none" spc="0">
                          <a:solidFill>
                            <a:schemeClr val="tx1"/>
                          </a:solidFill>
                          <a:effectLst/>
                          <a:latin typeface="+mj-lt"/>
                          <a:cs typeface="Arial"/>
                        </a:rPr>
                        <a:t>Business Understand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685800" rtl="0" eaLnBrk="1" fontAlgn="b" latinLnBrk="0" hangingPunct="1"/>
                      <a:r>
                        <a:rPr lang="en-US" sz="1050" b="0" i="1" u="none" strike="noStrike" kern="1200">
                          <a:solidFill>
                            <a:schemeClr val="tx1"/>
                          </a:solidFill>
                          <a:effectLst/>
                          <a:latin typeface="+mj-lt"/>
                          <a:ea typeface="Open Sans"/>
                          <a:cs typeface="Open Sans"/>
                        </a:rPr>
                        <a:t>What problem are you trying to solve? What question are you trying to answer?</a:t>
                      </a:r>
                    </a:p>
                    <a:p>
                      <a:pPr marL="0" lvl="0" algn="l">
                        <a:buNone/>
                      </a:pPr>
                      <a:endParaRPr lang="en-US" sz="1050" b="0" i="1" u="none" strike="noStrike" kern="1200">
                        <a:solidFill>
                          <a:schemeClr val="tx1"/>
                        </a:solidFill>
                        <a:effectLst/>
                        <a:latin typeface="+mj-lt"/>
                        <a:ea typeface="Open Sans"/>
                        <a:cs typeface="Open Sans"/>
                      </a:endParaRPr>
                    </a:p>
                    <a:p>
                      <a:pPr marL="0" lvl="0" algn="l">
                        <a:buNone/>
                      </a:pPr>
                      <a:endParaRPr lang="en-US" sz="1050" b="0" i="1" u="none" strike="noStrike" kern="1200">
                        <a:solidFill>
                          <a:schemeClr val="tx1"/>
                        </a:solidFill>
                        <a:effectLst/>
                        <a:latin typeface="+mj-lt"/>
                        <a:ea typeface="Open Sans"/>
                        <a:cs typeface="Open Sans"/>
                      </a:endParaRPr>
                    </a:p>
                    <a:p>
                      <a:pPr lvl="0" algn="l">
                        <a:lnSpc>
                          <a:spcPct val="100000"/>
                        </a:lnSpc>
                        <a:spcBef>
                          <a:spcPts val="0"/>
                        </a:spcBef>
                        <a:spcAft>
                          <a:spcPts val="0"/>
                        </a:spcAft>
                        <a:buNone/>
                      </a:pPr>
                      <a:r>
                        <a:rPr lang="en-US" sz="1050" b="0" i="0" u="none" strike="noStrike" kern="1200" noProof="0">
                          <a:solidFill>
                            <a:schemeClr val="tx1"/>
                          </a:solidFill>
                          <a:effectLst/>
                        </a:rPr>
                        <a:t>        In the competitive realm of credit card companies, each company offers a wide range of incentives to obtain a customer and keep them loyal to their services. From offering a reward system that allows customers to use their rewards towards travel, card statements, or gift cards to offering a low percentage of interest rates on monthly statements. Customer retention is a crucial factor for sustaining revenue growth and fostering long-term clientele and profitability.</a:t>
                      </a:r>
                      <a:endParaRPr lang="en-US"/>
                    </a:p>
                    <a:p>
                      <a:pPr lvl="0" algn="l">
                        <a:lnSpc>
                          <a:spcPct val="100000"/>
                        </a:lnSpc>
                        <a:spcBef>
                          <a:spcPts val="0"/>
                        </a:spcBef>
                        <a:spcAft>
                          <a:spcPts val="0"/>
                        </a:spcAft>
                        <a:buNone/>
                      </a:pPr>
                      <a:r>
                        <a:rPr lang="en-US" sz="1050" b="0" i="0" u="none" strike="noStrike" kern="1200" noProof="0">
                          <a:solidFill>
                            <a:schemeClr val="tx1"/>
                          </a:solidFill>
                          <a:effectLst/>
                        </a:rPr>
                        <a:t>The key stakeholders include the credit card companies who seek to decrease customer churn, the customer service and marketing teams who may need to adjust their operations and strategies based on our insights, and the customers who will benefit from improved services and retention incentives.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his proposal aims to recognize the importance of retaining clientele by implementing and developing a predictive analytics tool to forecast customer churn by enabling proactive measures to mitigate churning rates effectively.  Our primary goal is to identify potential churning among our customers and harness the retention. We would investigate the identifying factors within the data set that we feel contribute to the customer churn. We would then perform evaluations with models to increase customer retention. By carefully analyzing these predictions and creating an analysis, credit card companies can then tailor their retention rates by implementing strategies to incentivize their current customers that are at risk of churning.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o enable our predictive analytic models, we would require specific customer data.  Using this data, we will be able to strategically plan and allocate resources to overcome potential challenges. The predictive modeling insights will guide changes to increase customer retention. This process may involve modifying current marketing strategies or enhancing customer service operations. However, with the correct approach and by leveraging the insights obtained from our predictive analytics, we are confident that any arising challenges can be effectively addressed, leading to improved customer retention and business growth.</a:t>
                      </a:r>
                      <a:endParaRPr lang="en-US"/>
                    </a:p>
                    <a:p>
                      <a:pPr marL="0" lvl="0" algn="l">
                        <a:buNone/>
                      </a:pPr>
                      <a:endParaRPr lang="en-US" sz="1050" b="0" i="1"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41228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455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33909269"/>
              </p:ext>
            </p:extLst>
          </p:nvPr>
        </p:nvGraphicFramePr>
        <p:xfrm>
          <a:off x="718864" y="1510030"/>
          <a:ext cx="10636066" cy="4897844"/>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Client/Project Motivation *</a:t>
                      </a:r>
                      <a:endParaRPr lang="en-US"/>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050" b="0" i="1" u="none" strike="noStrike" kern="1200" noProof="0">
                          <a:solidFill>
                            <a:srgbClr val="000000"/>
                          </a:solidFill>
                          <a:effectLst/>
                          <a:latin typeface="Open Sans"/>
                        </a:rPr>
                        <a:t>Who is your client? What is the motivation behind your project?</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The client for this proposed solution would be credit card companies that are seeking ways to enhance customer retention strategies and reduce their churning rates to sustain revenue growth, clientele, and profitability. The motivation for this proposal falls under the umbrella of revenue protection, customer satisfaction, and competitive advantage while maintaining clientele retention.</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Revenue protection is vital when it comes to credit card companies. Credit card companies rely heavily on customer retention for their sustained growth. Therefore, customer churn results in a loss of revenue for the company. By looking retrospectively at the data collection and implementing predictive analytics to forecast customer churn and foresee possible issues, companies can proactively intervene with targeted retention strategies which in turn results in revenue streams and improving profitability.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Customer satisfaction is also an important pillar when preventing customer churn. Retaining customers is not only about revenue growth and financial gain but also about fostering long-term relationships and customer loyalty. This in hance would benefit the customer and the company as it would lead to building a trustworthy relationship with the client and hopefully spreading awareness to other clients looking to sign up for credit cards thus expanding customer numbers.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In addition to revenue growth and fostering customer satisfaction, another key motive for this proposal is competitive advantage. Leveraging predictive analytics for churn reduction provides a competitive edge through targeted marketing and superior customer service. </a:t>
                      </a:r>
                      <a:endParaRPr lang="en-US" i="0"/>
                    </a:p>
                    <a:p>
                      <a:pPr marL="0" lvl="0" indent="0" algn="l">
                        <a:lnSpc>
                          <a:spcPct val="100000"/>
                        </a:lnSpc>
                        <a:buNone/>
                      </a:pPr>
                      <a:r>
                        <a:rPr lang="en-US" sz="1050" b="0" i="0" u="none" strike="noStrike" kern="1200" noProof="0">
                          <a:solidFill>
                            <a:schemeClr val="tx1"/>
                          </a:solidFill>
                          <a:effectLst/>
                          <a:latin typeface="+mj-lt"/>
                          <a:ea typeface="Open Sans"/>
                          <a:cs typeface="Open Sans"/>
                        </a:rPr>
                        <a:t>The client will be driven by the goal of enhancing operational efficiency. Predictive analytics can help the client make informed decisions in response to the insights provided. The client will stay informed about business strategies, which helps when identifying threats and opportunities in advanc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The client will be driven to set industry standards. The client will find great motivation in leveraging predictive analytics to anticipate market changes and evolving the needs of their customers. This approach will enable the client to stay ahead of industry trends, set new benchmarks for customer satisfaction and challenge new market opportunities which will strengthen their competitive edg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Regarding a project perspective, a key motivating factor would be to build an adaptable and scalable model. The predictive model should be capable of managing data complexities if the business expands and/or if the data of the customer base is to be more diverse.</a:t>
                      </a: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1053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449470439"/>
              </p:ext>
            </p:extLst>
          </p:nvPr>
        </p:nvGraphicFramePr>
        <p:xfrm>
          <a:off x="718864" y="1510030"/>
          <a:ext cx="10636066" cy="233182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Market / Industry</a:t>
                      </a:r>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100" b="0" i="1" u="none" strike="noStrike" kern="1200" noProof="0">
                          <a:solidFill>
                            <a:srgbClr val="000000"/>
                          </a:solidFill>
                          <a:effectLst/>
                          <a:latin typeface="Open Sans"/>
                        </a:rPr>
                        <a:t>What market does your solution serve?</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r>
                        <a:rPr lang="en-US" sz="1100" b="0" i="0" u="none" strike="noStrike" kern="1200" noProof="0">
                          <a:solidFill>
                            <a:srgbClr val="000000"/>
                          </a:solidFill>
                          <a:effectLst/>
                          <a:latin typeface="Open Sans"/>
                        </a:rPr>
                        <a:t>        The dataset selected contains a wealth of customer information collected from within a consumer credit card portfolio, with the aim of helping analysts predict customer attrition. The market that our proposed solution aims to serve is credit card companies therefore falling into the finance industry. </a:t>
                      </a:r>
                      <a:endParaRPr lang="en-US" sz="1100">
                        <a:solidFill>
                          <a:srgbClr val="000000"/>
                        </a:solidFill>
                        <a:latin typeface="Open Sans"/>
                      </a:endParaRP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6632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726830222"/>
              </p:ext>
            </p:extLst>
          </p:nvPr>
        </p:nvGraphicFramePr>
        <p:xfrm>
          <a:off x="718864" y="1510030"/>
          <a:ext cx="10636065" cy="380674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12083">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i="0" u="none" strike="noStrike" cap="none" spc="0">
                          <a:solidFill>
                            <a:schemeClr val="tx1"/>
                          </a:solidFill>
                          <a:effectLst/>
                          <a:latin typeface="+mj-lt"/>
                          <a:cs typeface="Arial"/>
                        </a:rPr>
                        <a:t>State of the A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u="none" strike="noStrike">
                          <a:solidFill>
                            <a:schemeClr val="tx1"/>
                          </a:solidFill>
                          <a:effectLst/>
                          <a:latin typeface="Open Sans"/>
                          <a:ea typeface="Open Sans"/>
                          <a:cs typeface="Open Sans"/>
                        </a:rPr>
                        <a:t>How has this problem been approached in the past?</a:t>
                      </a:r>
                      <a:endParaRPr lang="en-US" sz="1050" b="0" i="1">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lvl="0" indent="0" algn="l" fontAlgn="auto">
                        <a:lnSpc>
                          <a:spcPct val="100000"/>
                        </a:lnSpc>
                      </a:pPr>
                      <a:r>
                        <a:rPr lang="en-US" sz="1050" b="0" i="1" u="none" strike="noStrike">
                          <a:solidFill>
                            <a:schemeClr val="tx1"/>
                          </a:solidFill>
                          <a:effectLst/>
                          <a:latin typeface="Open Sans"/>
                          <a:ea typeface="Open Sans"/>
                          <a:cs typeface="Open Sans"/>
                        </a:rPr>
                        <a:t>​        </a:t>
                      </a:r>
                      <a:r>
                        <a:rPr lang="en-US" sz="1050" b="0" i="0" u="none" strike="noStrike">
                          <a:solidFill>
                            <a:schemeClr val="tx1"/>
                          </a:solidFill>
                          <a:effectLst/>
                          <a:latin typeface="Open Sans"/>
                          <a:ea typeface="Open Sans"/>
                          <a:cs typeface="Open Sans"/>
                        </a:rPr>
                        <a:t>Historically, customer retention has been approached by credit card companies through personalized customer service improvements and marketing. Using data analytics and AI to address customer retention is not a new approach. An increasing number of companies are adopting technologies to implement preventive measures. Many firms seeking to improve their customer retention will employ experts to construct machine learning models.  Machine learning techniques and strategies have been used since 2004. </a:t>
                      </a:r>
                      <a:r>
                        <a:rPr lang="en-US" sz="1100" b="0" i="0" u="none" strike="noStrike" noProof="0">
                          <a:solidFill>
                            <a:srgbClr val="000000"/>
                          </a:solidFill>
                          <a:effectLst/>
                          <a:latin typeface="Open Sans"/>
                        </a:rPr>
                        <a:t>It's important to note that the most effective strategy to prevent customer churn is to gain a comprehensive understanding of the customers, which can be achieved by analyzing both historical and recent customer data.</a:t>
                      </a:r>
                    </a:p>
                    <a:p>
                      <a:pPr marL="0" lvl="0" indent="0" algn="l">
                        <a:lnSpc>
                          <a:spcPct val="100000"/>
                        </a:lnSpc>
                        <a:buNone/>
                      </a:pPr>
                      <a:r>
                        <a:rPr lang="en-US" sz="1050" b="0" i="0" u="none" strike="noStrike" baseline="0" noProof="0">
                          <a:solidFill>
                            <a:srgbClr val="000000"/>
                          </a:solidFill>
                          <a:effectLst/>
                          <a:latin typeface="Open Sans"/>
                        </a:rPr>
                        <a:t>        In the past credit card churn has also been analyzed using customer surveys. Customer surveys gathered feedback directly from customers wanting to participate. The feedback was used to understand customer satisfaction and dissatisfaction which helped provide insights to churn. </a:t>
                      </a:r>
                    </a:p>
                    <a:p>
                      <a:pPr marL="0" lvl="0" indent="0" algn="l">
                        <a:lnSpc>
                          <a:spcPct val="100000"/>
                        </a:lnSpc>
                        <a:buNone/>
                      </a:pPr>
                      <a:r>
                        <a:rPr lang="en-US" sz="1050" b="0" i="0" u="none" strike="noStrike" baseline="0" noProof="0">
                          <a:solidFill>
                            <a:srgbClr val="000000"/>
                          </a:solidFill>
                          <a:effectLst/>
                          <a:latin typeface="Open Sans"/>
                        </a:rPr>
                        <a:t>Furthermore, credit card companies have engaged in analytical studies which have included competitive, financial, and behavioral analysis. These firms have examined customers' interactions with their credit cards, aspects such as purchasing patterns, payment behavior, balances, and interest rate usage. Detailed investigation helps in understanding the likelihood of customer churn. </a:t>
                      </a:r>
                    </a:p>
                    <a:p>
                      <a:pPr marL="0" lvl="0" indent="0" algn="l">
                        <a:lnSpc>
                          <a:spcPct val="100000"/>
                        </a:lnSpc>
                        <a:buNone/>
                      </a:pPr>
                      <a:r>
                        <a:rPr lang="en-US" sz="1050" b="0" i="0" u="none" strike="noStrike" baseline="0" noProof="0">
                          <a:solidFill>
                            <a:srgbClr val="000000"/>
                          </a:solidFill>
                          <a:effectLst/>
                          <a:latin typeface="Open Sans"/>
                        </a:rPr>
                        <a:t>While these traditional approaches may have been successful, credit card companies fail to address further problems related to loyalty and customer satisfaction.  </a:t>
                      </a:r>
                    </a:p>
                    <a:p>
                      <a:pPr lvl="0" algn="l">
                        <a:buNone/>
                      </a:pPr>
                      <a:endParaRPr lang="en-US" sz="1050" b="0" i="1"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60282"/>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904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000341482"/>
              </p:ext>
            </p:extLst>
          </p:nvPr>
        </p:nvGraphicFramePr>
        <p:xfrm>
          <a:off x="718864" y="1510030"/>
          <a:ext cx="10636065" cy="218368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136916">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u="none" strike="noStrike" cap="none" spc="0">
                          <a:solidFill>
                            <a:schemeClr val="tx1"/>
                          </a:solidFill>
                          <a:effectLst/>
                          <a:latin typeface="+mj-lt"/>
                          <a:cs typeface="Arial"/>
                        </a:rPr>
                        <a:t>Success Metrics (Evaluation)*</a:t>
                      </a:r>
                      <a:endParaRPr lang="en-US" sz="1100" b="1" i="0" u="none" strike="noStrike" cap="none" spc="0">
                        <a:solidFill>
                          <a:schemeClr val="tx1"/>
                        </a:solidFill>
                        <a:effectLst/>
                        <a:latin typeface="+mj-lt"/>
                        <a:cs typeface="Arial"/>
                      </a:endParaRPr>
                    </a:p>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050" b="0" i="1" u="none" strike="noStrike">
                          <a:solidFill>
                            <a:schemeClr val="tx1"/>
                          </a:solidFill>
                          <a:effectLst/>
                          <a:latin typeface="Open Sans"/>
                          <a:ea typeface="Open Sans"/>
                          <a:cs typeface="Open Sans"/>
                        </a:rPr>
                        <a:t>What metrics will you use to determine success of your business recommendation?</a:t>
                      </a:r>
                      <a:r>
                        <a:rPr lang="en-US" sz="1050" b="0" i="1">
                          <a:solidFill>
                            <a:schemeClr val="tx1"/>
                          </a:solidFill>
                          <a:effectLst/>
                          <a:latin typeface="Open Sans"/>
                          <a:ea typeface="Open Sans"/>
                          <a:cs typeface="Open Sans"/>
                        </a:rPr>
                        <a:t>​</a:t>
                      </a:r>
                    </a:p>
                    <a:p>
                      <a:pPr lvl="0" algn="l">
                        <a:buNone/>
                      </a:pPr>
                      <a:endParaRPr lang="en-US" sz="1050" b="0" i="1">
                        <a:solidFill>
                          <a:schemeClr val="tx1"/>
                        </a:solidFill>
                        <a:effectLst/>
                        <a:latin typeface="Open Sans"/>
                        <a:ea typeface="Open Sans"/>
                        <a:cs typeface="Open Sans"/>
                      </a:endParaRPr>
                    </a:p>
                    <a:p>
                      <a:pPr lvl="0" algn="l">
                        <a:buNone/>
                      </a:pPr>
                      <a:endParaRPr lang="en-US" sz="1050" b="0" i="1">
                        <a:solidFill>
                          <a:schemeClr val="tx1"/>
                        </a:solidFill>
                        <a:effectLst/>
                        <a:latin typeface="Open Sans"/>
                        <a:ea typeface="Open Sans"/>
                        <a:cs typeface="Open Sans"/>
                      </a:endParaRPr>
                    </a:p>
                    <a:p>
                      <a:pPr lvl="0" algn="l">
                        <a:buNone/>
                      </a:pPr>
                      <a:r>
                        <a:rPr lang="en-US" sz="1050" b="0" i="0" u="none" strike="noStrike" baseline="0" noProof="0">
                          <a:solidFill>
                            <a:srgbClr val="000000"/>
                          </a:solidFill>
                          <a:effectLst/>
                          <a:latin typeface="Open Sans"/>
                        </a:rPr>
                        <a:t>        The success of our business recommendations will be assessed using a comprehensive set of metrics targeted at evaluating various aspects of customer retention. The primary metric for evaluating the success of the predictive analytics and retention strategies will be churn rate. Church rate measures the percentage in which customers decide to discontinue their credit card services with a company. A decrease in churning rates will demonstrate the effectiveness of the implemented proposed solutions in retaining customers from discontinuing their relationship with said credit card company.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0609754"/>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68369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071861931"/>
              </p:ext>
            </p:extLst>
          </p:nvPr>
        </p:nvGraphicFramePr>
        <p:xfrm>
          <a:off x="718864" y="1510030"/>
          <a:ext cx="10636065" cy="362386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218124">
                <a:tc>
                  <a:txBody>
                    <a:bodyPr/>
                    <a:lstStyle/>
                    <a:p>
                      <a:pPr algn="l" fontAlgn="b"/>
                      <a:r>
                        <a:rPr lang="en-US" sz="1100" b="1" i="0" u="none" strike="noStrike" cap="none" spc="0">
                          <a:solidFill>
                            <a:schemeClr val="tx1"/>
                          </a:solidFill>
                          <a:effectLst/>
                          <a:latin typeface="+mj-lt"/>
                          <a:cs typeface="Arial"/>
                        </a:rPr>
                        <a:t>Scalability*</a:t>
                      </a:r>
                      <a:endParaRPr lang="en-US" sz="1100" b="1" i="0" u="none" strike="noStrike" cap="none" spc="0">
                        <a:solidFill>
                          <a:srgbClr val="DA291C"/>
                        </a:solidFill>
                        <a:effectLst/>
                        <a:latin typeface="+mj-lt"/>
                        <a:cs typeface="Aria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auto"/>
                      <a:r>
                        <a:rPr lang="en-US" sz="1050" b="0" i="1" u="none" strike="noStrike">
                          <a:solidFill>
                            <a:schemeClr val="tx1"/>
                          </a:solidFill>
                          <a:effectLst/>
                          <a:latin typeface="Open Sans"/>
                          <a:ea typeface="Open Sans"/>
                          <a:cs typeface="Open Sans"/>
                        </a:rPr>
                        <a:t>​If successful, would it be possible to scale the project to size required to meet your client’s needs? What challenges do you anticipate?</a:t>
                      </a:r>
                    </a:p>
                    <a:p>
                      <a:pPr lvl="0" algn="l">
                        <a:buNone/>
                      </a:pPr>
                      <a:endParaRPr lang="en-US" sz="1050" b="0" i="1" u="none" strike="noStrike">
                        <a:solidFill>
                          <a:schemeClr val="tx1"/>
                        </a:solidFill>
                        <a:effectLst/>
                        <a:latin typeface="Open Sans"/>
                        <a:ea typeface="Open Sans"/>
                        <a:cs typeface="Open Sans"/>
                      </a:endParaRPr>
                    </a:p>
                    <a:p>
                      <a:pPr lvl="0" algn="l">
                        <a:buNone/>
                      </a:pPr>
                      <a:endParaRPr lang="en-US" sz="1050" b="0" i="1" u="none" strike="noStrike">
                        <a:solidFill>
                          <a:schemeClr val="tx1"/>
                        </a:solidFill>
                        <a:effectLst/>
                        <a:latin typeface="Open Sans"/>
                        <a:ea typeface="Open Sans"/>
                        <a:cs typeface="Open Sans"/>
                      </a:endParaRPr>
                    </a:p>
                    <a:p>
                      <a:pPr marL="0" lvl="0" indent="0" algn="l">
                        <a:lnSpc>
                          <a:spcPct val="100000"/>
                        </a:lnSpc>
                        <a:buNone/>
                      </a:pPr>
                      <a:r>
                        <a:rPr lang="en-US" sz="1050" b="0" i="0" u="none" strike="noStrike" baseline="0" noProof="0">
                          <a:solidFill>
                            <a:srgbClr val="000000"/>
                          </a:solidFill>
                          <a:effectLst/>
                          <a:latin typeface="Open Sans"/>
                        </a:rPr>
                        <a:t>       If successful, the predictive model should be able to manage data complexities to the size required to meet the client’s needs, particularly with the help of technologies and digital tools. However, our team is aware that our client may face challenges. </a:t>
                      </a:r>
                    </a:p>
                    <a:p>
                      <a:pPr marL="0" lvl="0" indent="0" algn="l">
                        <a:lnSpc>
                          <a:spcPct val="100000"/>
                        </a:lnSpc>
                        <a:buNone/>
                      </a:pPr>
                      <a:r>
                        <a:rPr lang="en-US" sz="1050" b="0" i="0" u="none" strike="noStrike" baseline="0" noProof="0">
                          <a:solidFill>
                            <a:srgbClr val="000000"/>
                          </a:solidFill>
                          <a:effectLst/>
                          <a:latin typeface="Open Sans"/>
                        </a:rPr>
                        <a:t>Technically, as the scale of the project expands, there may be a need for more advanced tools for data processing and analytics. The challenge resides in affording and implementing the tools that effectively manage an increase in data complexity.</a:t>
                      </a:r>
                    </a:p>
                    <a:p>
                      <a:pPr marL="0" lvl="0" indent="0" algn="l">
                        <a:lnSpc>
                          <a:spcPct val="100000"/>
                        </a:lnSpc>
                        <a:buNone/>
                      </a:pPr>
                      <a:r>
                        <a:rPr lang="en-US" sz="1050" b="0" i="0" u="none" strike="noStrike" baseline="0" noProof="0">
                          <a:solidFill>
                            <a:srgbClr val="000000"/>
                          </a:solidFill>
                          <a:effectLst/>
                          <a:latin typeface="Open Sans"/>
                        </a:rPr>
                        <a:t>Additionally, an increase in data complexity also means an increase in the data that must be properly managed. The client needs to ensure that the customer data is following privacy laws and regulations to protect individuals’ privacy rights and ensure that they comply with current data privacy and security standards.  </a:t>
                      </a:r>
                    </a:p>
                    <a:p>
                      <a:pPr marL="0" lvl="0" indent="0" algn="l">
                        <a:lnSpc>
                          <a:spcPct val="100000"/>
                        </a:lnSpc>
                        <a:buNone/>
                      </a:pPr>
                      <a:r>
                        <a:rPr lang="en-US" sz="1050" b="0" i="0" u="none" strike="noStrike" baseline="0" noProof="0">
                          <a:solidFill>
                            <a:srgbClr val="000000"/>
                          </a:solidFill>
                          <a:effectLst/>
                          <a:latin typeface="Open Sans"/>
                        </a:rPr>
                        <a:t>        In terms of keeping up with competitors’ reward offerings, it is important for the client to understand and create a realistic balance between offering competitive rewards to retain customers while also staying true to their brand identity. The client may struggle to match or better the competitive advantage of other companies in terms of those reward offerings. However, through the scaling process, the client must not neglect its core business values and brand identity. </a:t>
                      </a:r>
                    </a:p>
                    <a:p>
                      <a:pPr marL="0" lvl="0" indent="0" algn="l">
                        <a:lnSpc>
                          <a:spcPct val="100000"/>
                        </a:lnSpc>
                        <a:buNone/>
                      </a:pPr>
                      <a:r>
                        <a:rPr lang="en-US" sz="1050" b="0" i="0" u="none" strike="noStrike" baseline="0" noProof="0">
                          <a:solidFill>
                            <a:srgbClr val="000000"/>
                          </a:solidFill>
                          <a:effectLst/>
                          <a:latin typeface="Open Sans"/>
                        </a:rPr>
                        <a:t>Finally, when it comes to scaling up reward offerings and promotions, it may not be practical to offer the same level of rewards to every client. The client must understand that maintaining such a level may not be feasible as the scale increases. </a:t>
                      </a:r>
                    </a:p>
                    <a:p>
                      <a:pPr lvl="0" algn="l">
                        <a:buNone/>
                      </a:pPr>
                      <a:endParaRPr lang="en-US" sz="1050" b="0" i="0"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81111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054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t>CAPSTONE PROPOSAL</a:t>
            </a: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322571749"/>
              </p:ext>
            </p:extLst>
          </p:nvPr>
        </p:nvGraphicFramePr>
        <p:xfrm>
          <a:off x="545656" y="1621290"/>
          <a:ext cx="11100688" cy="746760"/>
        </p:xfrm>
        <a:graphic>
          <a:graphicData uri="http://schemas.openxmlformats.org/drawingml/2006/table">
            <a:tbl>
              <a:tblPr>
                <a:tableStyleId>{9D7B26C5-4107-4FEC-AEDC-1716B250A1EF}</a:tableStyleId>
              </a:tblPr>
              <a:tblGrid>
                <a:gridCol w="7864812">
                  <a:extLst>
                    <a:ext uri="{9D8B030D-6E8A-4147-A177-3AD203B41FA5}">
                      <a16:colId xmlns:a16="http://schemas.microsoft.com/office/drawing/2014/main" val="2537121759"/>
                    </a:ext>
                  </a:extLst>
                </a:gridCol>
                <a:gridCol w="3235876">
                  <a:extLst>
                    <a:ext uri="{9D8B030D-6E8A-4147-A177-3AD203B41FA5}">
                      <a16:colId xmlns:a16="http://schemas.microsoft.com/office/drawing/2014/main" val="2136867599"/>
                    </a:ext>
                  </a:extLst>
                </a:gridCol>
              </a:tblGrid>
              <a:tr h="306006">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363033">
                <a:tc>
                  <a:txBody>
                    <a:bodyPr/>
                    <a:lstStyle/>
                    <a:p>
                      <a:pPr algn="l" fontAlgn="b"/>
                      <a:r>
                        <a:rPr lang="en-US" sz="1100" b="0" i="0" u="none" strike="noStrike">
                          <a:solidFill>
                            <a:srgbClr val="000000"/>
                          </a:solidFill>
                          <a:effectLst/>
                          <a:latin typeface="+mj-lt"/>
                          <a:cs typeface="Arial"/>
                        </a:rPr>
                        <a:t>Data Type (e.g., numerical, categorical)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lgn="l">
                        <a:buNone/>
                      </a:pPr>
                      <a:r>
                        <a:rPr lang="en-US" sz="1050" b="0" i="1" u="none" strike="noStrike">
                          <a:solidFill>
                            <a:srgbClr val="000000"/>
                          </a:solidFill>
                          <a:effectLst/>
                          <a:latin typeface="Open Sans"/>
                          <a:ea typeface="Open Sans"/>
                          <a:cs typeface="Open Sans"/>
                        </a:rPr>
                        <a:t>What type of data is needed to answer the posed question(s)? See tables below</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1892667283"/>
                  </a:ext>
                </a:extLst>
              </a:tr>
            </a:tbl>
          </a:graphicData>
        </a:graphic>
      </p:graphicFrame>
      <p:pic>
        <p:nvPicPr>
          <p:cNvPr id="4" name="Picture 3">
            <a:extLst>
              <a:ext uri="{FF2B5EF4-FFF2-40B4-BE49-F238E27FC236}">
                <a16:creationId xmlns:a16="http://schemas.microsoft.com/office/drawing/2014/main" id="{856BB6BB-B726-B504-9CCF-C10BE2317BFB}"/>
              </a:ext>
            </a:extLst>
          </p:cNvPr>
          <p:cNvPicPr>
            <a:picLocks noChangeAspect="1"/>
          </p:cNvPicPr>
          <p:nvPr/>
        </p:nvPicPr>
        <p:blipFill>
          <a:blip r:embed="rId3"/>
          <a:stretch>
            <a:fillRect/>
          </a:stretch>
        </p:blipFill>
        <p:spPr>
          <a:xfrm>
            <a:off x="1887814" y="2594650"/>
            <a:ext cx="3102721" cy="3620934"/>
          </a:xfrm>
          <a:prstGeom prst="rect">
            <a:avLst/>
          </a:prstGeom>
        </p:spPr>
      </p:pic>
      <p:pic>
        <p:nvPicPr>
          <p:cNvPr id="6" name="Picture 5">
            <a:extLst>
              <a:ext uri="{FF2B5EF4-FFF2-40B4-BE49-F238E27FC236}">
                <a16:creationId xmlns:a16="http://schemas.microsoft.com/office/drawing/2014/main" id="{0F2094EC-C289-47A1-D385-7663D2EFF21C}"/>
              </a:ext>
            </a:extLst>
          </p:cNvPr>
          <p:cNvPicPr>
            <a:picLocks noChangeAspect="1"/>
          </p:cNvPicPr>
          <p:nvPr/>
        </p:nvPicPr>
        <p:blipFill>
          <a:blip r:embed="rId4"/>
          <a:stretch>
            <a:fillRect/>
          </a:stretch>
        </p:blipFill>
        <p:spPr>
          <a:xfrm>
            <a:off x="6284322" y="3519168"/>
            <a:ext cx="4315427" cy="1771897"/>
          </a:xfrm>
          <a:prstGeom prst="rect">
            <a:avLst/>
          </a:prstGeom>
        </p:spPr>
      </p:pic>
      <p:sp>
        <p:nvSpPr>
          <p:cNvPr id="7" name="Content Placeholder 68">
            <a:extLst>
              <a:ext uri="{FF2B5EF4-FFF2-40B4-BE49-F238E27FC236}">
                <a16:creationId xmlns:a16="http://schemas.microsoft.com/office/drawing/2014/main" id="{7C656570-2705-E06A-E823-F6D676721D42}"/>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6161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A_Master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A_Master PPT Template.pptx" id="{995CEE39-DC2A-4C95-9F33-C79BA4B7B234}" vid="{4F688E53-754E-41F5-8040-DF683788F28D}"/>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20100ae-1eb6-4747-a25b-6dc6dcbd1e73">
      <UserInfo>
        <DisplayName>White, Alex</DisplayName>
        <AccountId>15</AccountId>
        <AccountType/>
      </UserInfo>
    </SharedWithUsers>
  </documentManagement>
</p:properties>
</file>

<file path=customXml/itemProps1.xml><?xml version="1.0" encoding="utf-8"?>
<ds:datastoreItem xmlns:ds="http://schemas.openxmlformats.org/officeDocument/2006/customXml" ds:itemID="{A72308DE-6F00-4CBF-8D3A-77DDCF12D455}">
  <ds:schemaRefs>
    <ds:schemaRef ds:uri="http://schemas.microsoft.com/sharepoint/v3/contenttype/forms"/>
  </ds:schemaRefs>
</ds:datastoreItem>
</file>

<file path=customXml/itemProps2.xml><?xml version="1.0" encoding="utf-8"?>
<ds:datastoreItem xmlns:ds="http://schemas.openxmlformats.org/officeDocument/2006/customXml" ds:itemID="{5D8399FD-7F2A-4B65-A045-EEBC07298C5D}">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A62ABF4-C375-449C-9CBF-FBBF0DC27BB3}">
  <ds:schemaRefs>
    <ds:schemaRef ds:uri="020100ae-1eb6-4747-a25b-6dc6dcbd1e73"/>
    <ds:schemaRef ds:uri="8c723c61-34f3-420c-a1b5-94b8a6ceade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TA_Master PPT Template</Template>
  <Application>Microsoft Office PowerPoint</Application>
  <PresentationFormat>Widescreen</PresentationFormat>
  <Slides>16</Slides>
  <Notes>16</Notes>
  <HiddenSlides>0</HiddenSlides>
  <ScaleCrop>false</ScaleCrop>
  <HeadingPairs>
    <vt:vector size="4" baseType="variant">
      <vt:variant>
        <vt:lpstr>Theme</vt:lpstr>
      </vt:variant>
      <vt:variant>
        <vt:i4>2</vt:i4>
      </vt:variant>
      <vt:variant>
        <vt:lpstr>Slide Titles</vt:lpstr>
      </vt:variant>
      <vt:variant>
        <vt:i4>16</vt:i4>
      </vt:variant>
    </vt:vector>
  </HeadingPairs>
  <TitlesOfParts>
    <vt:vector size="18" baseType="lpstr">
      <vt:lpstr>DTA_Master_Theme</vt:lpstr>
      <vt:lpstr>2_Deloitte Brand Theme</vt:lpstr>
      <vt:lpstr>Instructions on expectations for proposal and mentor status updates </vt:lpstr>
      <vt:lpstr>CAPSTONE PROPOSAL </vt:lpstr>
      <vt:lpstr>CAPSTONE PROPOSAL</vt:lpstr>
      <vt:lpstr>CAPSTONE PROPOSAL</vt:lpstr>
      <vt:lpstr>CAPSTONE PROPOSAL</vt:lpstr>
      <vt:lpstr>CAPSTONE PROPOSAL</vt:lpstr>
      <vt:lpstr>CAPSTONE PROPOSAL </vt:lpstr>
      <vt:lpstr>CAPSTONE PROPOSAL </vt:lpstr>
      <vt:lpstr>CAPSTONE PROPOSAL</vt:lpstr>
      <vt:lpstr>CAPSTONE PROPOSAL </vt:lpstr>
      <vt:lpstr>CAPSTONE PROPOSAL</vt:lpstr>
      <vt:lpstr>CAPSTONE PROPOSAL</vt:lpstr>
      <vt:lpstr>CAPSTONE PROPOSAL</vt:lpstr>
      <vt:lpstr>CAPSTONE PROPOSAL</vt:lpstr>
      <vt:lpstr>CAPSTONE PROPOSAL </vt:lpstr>
      <vt:lpstr>Project Timeli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se case template</dc:title>
  <dc:creator>Tolliver, Laura</dc:creator>
  <cp:revision>2</cp:revision>
  <dcterms:created xsi:type="dcterms:W3CDTF">2023-08-28T12:36:49Z</dcterms:created>
  <dcterms:modified xsi:type="dcterms:W3CDTF">2024-04-12T16: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6T17:01: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0b7600-eee7-45d1-b423-d24028af7210</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770C35BCB5C8A141BB7F4227B2156DCF</vt:lpwstr>
  </property>
</Properties>
</file>